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5.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6.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2.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3.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773" r:id="rId5"/>
    <p:sldMasterId id="2147483788" r:id="rId6"/>
    <p:sldMasterId id="2147483803" r:id="rId7"/>
    <p:sldMasterId id="2147483885" r:id="rId8"/>
    <p:sldMasterId id="2147483900" r:id="rId9"/>
  </p:sldMasterIdLst>
  <p:notesMasterIdLst>
    <p:notesMasterId r:id="rId20"/>
  </p:notesMasterIdLst>
  <p:handoutMasterIdLst>
    <p:handoutMasterId r:id="rId21"/>
  </p:handoutMasterIdLst>
  <p:sldIdLst>
    <p:sldId id="257" r:id="rId10"/>
    <p:sldId id="290" r:id="rId11"/>
    <p:sldId id="285" r:id="rId12"/>
    <p:sldId id="281" r:id="rId13"/>
    <p:sldId id="286" r:id="rId14"/>
    <p:sldId id="287" r:id="rId15"/>
    <p:sldId id="268" r:id="rId16"/>
    <p:sldId id="288" r:id="rId17"/>
    <p:sldId id="291" r:id="rId18"/>
    <p:sldId id="263" r:id="rId19"/>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9" clrIdx="0"/>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F0"/>
    <a:srgbClr val="FF0000"/>
    <a:srgbClr val="8229B5"/>
    <a:srgbClr val="8C006E"/>
    <a:srgbClr val="003DE6"/>
    <a:srgbClr val="00C7E6"/>
    <a:srgbClr val="1F1F96"/>
    <a:srgbClr val="DB14AB"/>
    <a:srgbClr val="FFF000"/>
    <a:srgbClr val="F5821F"/>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496" autoAdjust="0"/>
    <p:restoredTop sz="93666" autoAdjust="0"/>
  </p:normalViewPr>
  <p:slideViewPr>
    <p:cSldViewPr snapToGrid="0">
      <p:cViewPr varScale="1">
        <p:scale>
          <a:sx n="106" d="100"/>
          <a:sy n="106" d="100"/>
        </p:scale>
        <p:origin x="966" y="114"/>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98" d="100"/>
          <a:sy n="98" d="100"/>
        </p:scale>
        <p:origin x="3516"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commentAuthors" Target="commentAuthor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4.v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6.v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image" Target="../media/image4.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43E2305-466C-4623-BA03-7D1ABB7C9E8B}" type="datetimeFigureOut">
              <a:rPr lang="en-GB" smtClean="0"/>
              <a:t>31/10/2018</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BAB2DDB-3F36-4FB8-8004-74C0E9CD6F54}" type="slidenum">
              <a:rPr lang="en-GB" smtClean="0"/>
              <a:t>‹#›</a:t>
            </a:fld>
            <a:endParaRPr lang="en-GB"/>
          </a:p>
        </p:txBody>
      </p:sp>
    </p:spTree>
    <p:extLst>
      <p:ext uri="{BB962C8B-B14F-4D97-AF65-F5344CB8AC3E}">
        <p14:creationId xmlns:p14="http://schemas.microsoft.com/office/powerpoint/2010/main" val="30513047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894DEE1-CFED-4862-80A6-C1C29819A1DC}" type="datetimeFigureOut">
              <a:rPr lang="en-GB" smtClean="0"/>
              <a:t>31/10/2018</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4745B09-AD31-409C-B2BB-E7C534396A29}" type="slidenum">
              <a:rPr lang="en-GB" smtClean="0"/>
              <a:t>‹#›</a:t>
            </a:fld>
            <a:endParaRPr lang="en-GB"/>
          </a:p>
        </p:txBody>
      </p:sp>
    </p:spTree>
    <p:extLst>
      <p:ext uri="{BB962C8B-B14F-4D97-AF65-F5344CB8AC3E}">
        <p14:creationId xmlns:p14="http://schemas.microsoft.com/office/powerpoint/2010/main" val="12790389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1</a:t>
            </a:fld>
            <a:endParaRPr lang="en-GB"/>
          </a:p>
        </p:txBody>
      </p:sp>
    </p:spTree>
    <p:extLst>
      <p:ext uri="{BB962C8B-B14F-4D97-AF65-F5344CB8AC3E}">
        <p14:creationId xmlns:p14="http://schemas.microsoft.com/office/powerpoint/2010/main" val="16138606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wo studies that linked to overall safety – first a 2004 study by TRB – aggregate analysis of multiple different states – quantify the safety impact of RPMs on different road types</a:t>
            </a:r>
          </a:p>
          <a:p>
            <a:endParaRPr lang="en-US" dirty="0"/>
          </a:p>
          <a:p>
            <a:r>
              <a:rPr lang="en-US" dirty="0"/>
              <a:t>Driver perception – 2017 </a:t>
            </a:r>
            <a:r>
              <a:rPr lang="en-US" dirty="0" err="1"/>
              <a:t>MoDOT</a:t>
            </a:r>
            <a:r>
              <a:rPr lang="en-US" baseline="0" dirty="0"/>
              <a:t> study – drivers overwhelmingly find RPMs useful particularly in dangerous conditions </a:t>
            </a:r>
          </a:p>
          <a:p>
            <a:endParaRPr lang="en-US" baseline="0" dirty="0"/>
          </a:p>
          <a:p>
            <a:r>
              <a:rPr lang="en-US" baseline="0" dirty="0"/>
              <a:t>Clear that RPMs are an important component of roadway safety </a:t>
            </a:r>
          </a:p>
          <a:p>
            <a:endParaRPr lang="en-US" baseline="0" dirty="0"/>
          </a:p>
          <a:p>
            <a:r>
              <a:rPr lang="en-US" baseline="0" dirty="0"/>
              <a:t>Link to safety is important, TSD thought leader on road safety, this product fits into that position</a:t>
            </a:r>
          </a:p>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solidFill>
                  <a:prstClr val="black"/>
                </a:solidFill>
              </a:rPr>
              <a:pPr/>
              <a:t>4</a:t>
            </a:fld>
            <a:endParaRPr lang="en-GB">
              <a:solidFill>
                <a:prstClr val="black"/>
              </a:solidFill>
            </a:endParaRPr>
          </a:p>
        </p:txBody>
      </p:sp>
    </p:spTree>
    <p:extLst>
      <p:ext uri="{BB962C8B-B14F-4D97-AF65-F5344CB8AC3E}">
        <p14:creationId xmlns:p14="http://schemas.microsoft.com/office/powerpoint/2010/main" val="22598376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4745B09-AD31-409C-B2BB-E7C534396A29}" type="slidenum">
              <a:rPr lang="en-GB" smtClean="0">
                <a:solidFill>
                  <a:prstClr val="black"/>
                </a:solidFill>
              </a:rPr>
              <a:pPr/>
              <a:t>6</a:t>
            </a:fld>
            <a:endParaRPr lang="en-GB">
              <a:solidFill>
                <a:prstClr val="black"/>
              </a:solidFill>
            </a:endParaRPr>
          </a:p>
        </p:txBody>
      </p:sp>
    </p:spTree>
    <p:extLst>
      <p:ext uri="{BB962C8B-B14F-4D97-AF65-F5344CB8AC3E}">
        <p14:creationId xmlns:p14="http://schemas.microsoft.com/office/powerpoint/2010/main" val="2259800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solidFill>
                  <a:prstClr val="black"/>
                </a:solidFill>
              </a:rPr>
              <a:pPr/>
              <a:t>8</a:t>
            </a:fld>
            <a:endParaRPr lang="en-GB">
              <a:solidFill>
                <a:prstClr val="black"/>
              </a:solidFill>
            </a:endParaRPr>
          </a:p>
        </p:txBody>
      </p:sp>
    </p:spTree>
    <p:extLst>
      <p:ext uri="{BB962C8B-B14F-4D97-AF65-F5344CB8AC3E}">
        <p14:creationId xmlns:p14="http://schemas.microsoft.com/office/powerpoint/2010/main" val="10291558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745B09-AD31-409C-B2BB-E7C534396A29}" type="slidenum">
              <a:rPr lang="en-GB" smtClean="0"/>
              <a:t>9</a:t>
            </a:fld>
            <a:endParaRPr lang="en-GB"/>
          </a:p>
        </p:txBody>
      </p:sp>
    </p:spTree>
    <p:extLst>
      <p:ext uri="{BB962C8B-B14F-4D97-AF65-F5344CB8AC3E}">
        <p14:creationId xmlns:p14="http://schemas.microsoft.com/office/powerpoint/2010/main" val="12974651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4.emf"/><Relationship Id="rId4" Type="http://schemas.openxmlformats.org/officeDocument/2006/relationships/oleObject" Target="../embeddings/oleObject23.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4.emf"/><Relationship Id="rId4" Type="http://schemas.openxmlformats.org/officeDocument/2006/relationships/oleObject" Target="../embeddings/oleObject25.bin"/></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5.emf"/><Relationship Id="rId4" Type="http://schemas.openxmlformats.org/officeDocument/2006/relationships/oleObject" Target="../embeddings/oleObject27.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5.emf"/><Relationship Id="rId4" Type="http://schemas.openxmlformats.org/officeDocument/2006/relationships/oleObject" Target="../embeddings/oleObject28.bin"/></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6.jpg"/><Relationship Id="rId5" Type="http://schemas.openxmlformats.org/officeDocument/2006/relationships/image" Target="../media/image4.emf"/><Relationship Id="rId4" Type="http://schemas.openxmlformats.org/officeDocument/2006/relationships/oleObject" Target="../embeddings/oleObject29.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8.jpg"/><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9.jpg"/><Relationship Id="rId5" Type="http://schemas.openxmlformats.org/officeDocument/2006/relationships/image" Target="../media/image4.emf"/><Relationship Id="rId4" Type="http://schemas.openxmlformats.org/officeDocument/2006/relationships/oleObject" Target="../embeddings/oleObject31.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10.jpg"/><Relationship Id="rId5" Type="http://schemas.openxmlformats.org/officeDocument/2006/relationships/image" Target="../media/image4.emf"/><Relationship Id="rId4" Type="http://schemas.openxmlformats.org/officeDocument/2006/relationships/oleObject" Target="../embeddings/oleObject32.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7.pn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1.jpg"/><Relationship Id="rId5" Type="http://schemas.openxmlformats.org/officeDocument/2006/relationships/image" Target="../media/image4.emf"/><Relationship Id="rId4" Type="http://schemas.openxmlformats.org/officeDocument/2006/relationships/oleObject" Target="../embeddings/oleObject33.bin"/></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4.emf"/><Relationship Id="rId4" Type="http://schemas.openxmlformats.org/officeDocument/2006/relationships/oleObject" Target="../embeddings/oleObject35.bin"/></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4.emf"/><Relationship Id="rId4" Type="http://schemas.openxmlformats.org/officeDocument/2006/relationships/oleObject" Target="../embeddings/oleObject36.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5.emf"/><Relationship Id="rId4" Type="http://schemas.openxmlformats.org/officeDocument/2006/relationships/oleObject" Target="../embeddings/oleObject37.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5.emf"/><Relationship Id="rId4" Type="http://schemas.openxmlformats.org/officeDocument/2006/relationships/oleObject" Target="../embeddings/oleObject39.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png"/><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6.jpg"/><Relationship Id="rId5" Type="http://schemas.openxmlformats.org/officeDocument/2006/relationships/image" Target="../media/image4.emf"/><Relationship Id="rId4" Type="http://schemas.openxmlformats.org/officeDocument/2006/relationships/oleObject" Target="../embeddings/oleObject42.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8.jpg"/><Relationship Id="rId5" Type="http://schemas.openxmlformats.org/officeDocument/2006/relationships/image" Target="../media/image4.emf"/><Relationship Id="rId4" Type="http://schemas.openxmlformats.org/officeDocument/2006/relationships/oleObject" Target="../embeddings/oleObject4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9.jpg"/><Relationship Id="rId5" Type="http://schemas.openxmlformats.org/officeDocument/2006/relationships/image" Target="../media/image4.emf"/><Relationship Id="rId4" Type="http://schemas.openxmlformats.org/officeDocument/2006/relationships/oleObject" Target="../embeddings/oleObject44.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pn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10.jpg"/><Relationship Id="rId5" Type="http://schemas.openxmlformats.org/officeDocument/2006/relationships/image" Target="../media/image4.emf"/><Relationship Id="rId4" Type="http://schemas.openxmlformats.org/officeDocument/2006/relationships/oleObject" Target="../embeddings/oleObject45.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7.pn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11.jpg"/><Relationship Id="rId5" Type="http://schemas.openxmlformats.org/officeDocument/2006/relationships/image" Target="../media/image4.emf"/><Relationship Id="rId4" Type="http://schemas.openxmlformats.org/officeDocument/2006/relationships/oleObject" Target="../embeddings/oleObject46.bin"/></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5.emf"/><Relationship Id="rId4" Type="http://schemas.openxmlformats.org/officeDocument/2006/relationships/oleObject" Target="../embeddings/oleObject47.bin"/></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5.emf"/><Relationship Id="rId4" Type="http://schemas.openxmlformats.org/officeDocument/2006/relationships/oleObject" Target="../embeddings/oleObject5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jpg"/><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8.jpg"/><Relationship Id="rId5" Type="http://schemas.openxmlformats.org/officeDocument/2006/relationships/image" Target="../media/image4.emf"/><Relationship Id="rId4" Type="http://schemas.openxmlformats.org/officeDocument/2006/relationships/oleObject" Target="../embeddings/oleObject7.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9.jpg"/><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0.jpg"/><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1.jpg"/><Relationship Id="rId5" Type="http://schemas.openxmlformats.org/officeDocument/2006/relationships/image" Target="../media/image4.emf"/><Relationship Id="rId4" Type="http://schemas.openxmlformats.org/officeDocument/2006/relationships/oleObject" Target="../embeddings/oleObject10.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6.jpg"/><Relationship Id="rId5" Type="http://schemas.openxmlformats.org/officeDocument/2006/relationships/image" Target="../media/image4.emf"/><Relationship Id="rId4" Type="http://schemas.openxmlformats.org/officeDocument/2006/relationships/oleObject" Target="../embeddings/oleObject16.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8.jpg"/><Relationship Id="rId5" Type="http://schemas.openxmlformats.org/officeDocument/2006/relationships/image" Target="../media/image4.emf"/><Relationship Id="rId4" Type="http://schemas.openxmlformats.org/officeDocument/2006/relationships/oleObject" Target="../embeddings/oleObject17.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9.jpg"/><Relationship Id="rId5" Type="http://schemas.openxmlformats.org/officeDocument/2006/relationships/image" Target="../media/image4.emf"/><Relationship Id="rId4" Type="http://schemas.openxmlformats.org/officeDocument/2006/relationships/oleObject" Target="../embeddings/oleObject18.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0.jpg"/><Relationship Id="rId5" Type="http://schemas.openxmlformats.org/officeDocument/2006/relationships/image" Target="../media/image4.emf"/><Relationship Id="rId4" Type="http://schemas.openxmlformats.org/officeDocument/2006/relationships/oleObject" Target="../embeddings/oleObject19.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7.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1.jpg"/><Relationship Id="rId5" Type="http://schemas.openxmlformats.org/officeDocument/2006/relationships/image" Target="../media/image4.emf"/><Relationship Id="rId4" Type="http://schemas.openxmlformats.org/officeDocument/2006/relationships/oleObject" Target="../embeddings/oleObject20.bin"/></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4.emf"/><Relationship Id="rId4" Type="http://schemas.openxmlformats.org/officeDocument/2006/relationships/oleObject" Target="../embeddings/oleObject22.bin"/></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31 October 2018</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652424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79412" y="384048"/>
            <a:ext cx="11430000" cy="5864352"/>
          </a:xfrm>
        </p:spPr>
        <p:txBody>
          <a:bodyPr rIns="0"/>
          <a:lstStyle>
            <a:lvl1pPr>
              <a:lnSpc>
                <a:spcPct val="90000"/>
              </a:lnSpc>
              <a:defRPr sz="3200">
                <a:latin typeface="+mj-lt"/>
              </a:defRPr>
            </a:lvl1pPr>
            <a:lvl2pPr marL="0" indent="0">
              <a:spcAft>
                <a:spcPts val="1200"/>
              </a:spcAft>
              <a:buNone/>
              <a:defRPr sz="2200">
                <a:latin typeface="+mj-lt"/>
              </a:defRPr>
            </a:lvl2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31 October 2018</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198147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ver_2 REVERSED line/subhead">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179124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ver_2 REVERSED lin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22" name="Text Placeholder 7"/>
          <p:cNvSpPr>
            <a:spLocks noGrp="1"/>
          </p:cNvSpPr>
          <p:nvPr>
            <p:ph type="body" sz="quarter" idx="11" hasCustomPrompt="1"/>
          </p:nvPr>
        </p:nvSpPr>
        <p:spPr>
          <a:xfrm>
            <a:off x="384048"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160805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ver_3 REVERSED line/subhead">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21"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22"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740254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ver_3 REVERSED lin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22"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262464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ver_4 REVERSED line/subhead">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822137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ver_4 REVERSED lin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74760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ver_5 REVERSED line/subhead">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grpSp>
        <p:nvGrpSpPr>
          <p:cNvPr id="31" name="Group 30"/>
          <p:cNvGrpSpPr/>
          <p:nvPr userDrawn="1"/>
        </p:nvGrpSpPr>
        <p:grpSpPr>
          <a:xfrm>
            <a:off x="6095262" y="0"/>
            <a:ext cx="6101116" cy="6858864"/>
            <a:chOff x="6095262" y="0"/>
            <a:chExt cx="6101116" cy="6858864"/>
          </a:xfrm>
        </p:grpSpPr>
        <p:sp>
          <p:nvSpPr>
            <p:cNvPr id="8" name="Freeform 7"/>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3" name="Freeform 32"/>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1"/>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5" name="Freeform 3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1"/>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Tree>
    <p:extLst>
      <p:ext uri="{BB962C8B-B14F-4D97-AF65-F5344CB8AC3E}">
        <p14:creationId xmlns:p14="http://schemas.microsoft.com/office/powerpoint/2010/main" val="3432906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ver_5 REVERSED lin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grpSp>
        <p:nvGrpSpPr>
          <p:cNvPr id="22" name="Group 21"/>
          <p:cNvGrpSpPr/>
          <p:nvPr userDrawn="1"/>
        </p:nvGrpSpPr>
        <p:grpSpPr>
          <a:xfrm>
            <a:off x="6095262" y="0"/>
            <a:ext cx="6101116" cy="6858864"/>
            <a:chOff x="6095262" y="0"/>
            <a:chExt cx="6101116" cy="6858864"/>
          </a:xfrm>
        </p:grpSpPr>
        <p:sp>
          <p:nvSpPr>
            <p:cNvPr id="23" name="Freeform 22"/>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4" name="Freeform 23"/>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3"/>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5" name="Freeform 2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3"/>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3"/>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376345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ver_1 line_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a:t>One-line title</a:t>
            </a:r>
            <a:endParaRPr lang="en-GB" dirty="0"/>
          </a:p>
        </p:txBody>
      </p:sp>
      <p:sp>
        <p:nvSpPr>
          <p:cNvPr id="10" name="Text Placeholder 7"/>
          <p:cNvSpPr>
            <a:spLocks noGrp="1"/>
          </p:cNvSpPr>
          <p:nvPr>
            <p:ph type="body" sz="quarter" idx="12" hasCustomPrompt="1"/>
          </p:nvPr>
        </p:nvSpPr>
        <p:spPr>
          <a:xfrm>
            <a:off x="384048" y="4257741"/>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65074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_Title, Subtitle,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16" name="Rectangle 15"/>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1969033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384048"/>
            <a:ext cx="11426952" cy="5861304"/>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31 October 2018</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909826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Tree>
    <p:extLst>
      <p:ext uri="{BB962C8B-B14F-4D97-AF65-F5344CB8AC3E}">
        <p14:creationId xmlns:p14="http://schemas.microsoft.com/office/powerpoint/2010/main" val="2093155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16" name="Rectangle 15"/>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348993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12"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Tree>
    <p:extLst>
      <p:ext uri="{BB962C8B-B14F-4D97-AF65-F5344CB8AC3E}">
        <p14:creationId xmlns:p14="http://schemas.microsoft.com/office/powerpoint/2010/main" val="55891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1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1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16" name="Rectangle 15"/>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2519914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Title, 2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2" name="Rectangle 1"/>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6"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Tree>
    <p:extLst>
      <p:ext uri="{BB962C8B-B14F-4D97-AF65-F5344CB8AC3E}">
        <p14:creationId xmlns:p14="http://schemas.microsoft.com/office/powerpoint/2010/main" val="3510351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17"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18"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19" name="Rectangle 18"/>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118786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11"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12"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13" name="Rectangle 12"/>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3770210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76623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494584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_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a:xfrm>
            <a:off x="0" y="1652428"/>
            <a:ext cx="8210550" cy="1994392"/>
          </a:xfrm>
          <a:prstGeom prst="rect">
            <a:avLst/>
          </a:prstGeom>
          <a:gradFill>
            <a:gsLst>
              <a:gs pos="0">
                <a:srgbClr val="65553C">
                  <a:alpha val="37000"/>
                </a:srgbClr>
              </a:gs>
              <a:gs pos="70000">
                <a:srgbClr val="654E47">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803548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 Content Only_ 1/3  2/3">
    <p:spTree>
      <p:nvGrpSpPr>
        <p:cNvPr id="1" name=""/>
        <p:cNvGrpSpPr/>
        <p:nvPr/>
      </p:nvGrpSpPr>
      <p:grpSpPr>
        <a:xfrm>
          <a:off x="0" y="0"/>
          <a:ext cx="0" cy="0"/>
          <a:chOff x="0" y="0"/>
          <a:chExt cx="0" cy="0"/>
        </a:xfrm>
      </p:grpSpPr>
      <p:sp>
        <p:nvSpPr>
          <p:cNvPr id="4"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5" name="Content Placeholder 4"/>
          <p:cNvSpPr>
            <a:spLocks noGrp="1"/>
          </p:cNvSpPr>
          <p:nvPr>
            <p:ph sz="quarter" idx="14"/>
          </p:nvPr>
        </p:nvSpPr>
        <p:spPr>
          <a:xfrm>
            <a:off x="4187952" y="384048"/>
            <a:ext cx="7623048"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31 October 2018</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004501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Rectangle 4"/>
          <p:cNvSpPr/>
          <p:nvPr userDrawn="1"/>
        </p:nvSpPr>
        <p:spPr>
          <a:xfrm>
            <a:off x="0" y="1500850"/>
            <a:ext cx="8210550" cy="2145970"/>
          </a:xfrm>
          <a:prstGeom prst="rect">
            <a:avLst/>
          </a:prstGeom>
          <a:gradFill>
            <a:gsLst>
              <a:gs pos="0">
                <a:srgbClr val="629324">
                  <a:alpha val="66000"/>
                </a:srgbClr>
              </a:gs>
              <a:gs pos="70000">
                <a:srgbClr val="68942C">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128929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247468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1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p:cNvSpPr/>
          <p:nvPr userDrawn="1"/>
        </p:nvSpPr>
        <p:spPr>
          <a:xfrm>
            <a:off x="0" y="1652428"/>
            <a:ext cx="8210550" cy="1994392"/>
          </a:xfrm>
          <a:prstGeom prst="rect">
            <a:avLst/>
          </a:prstGeom>
          <a:gradFill>
            <a:gsLst>
              <a:gs pos="0">
                <a:srgbClr val="03060D">
                  <a:alpha val="34000"/>
                </a:srgbClr>
              </a:gs>
              <a:gs pos="70000">
                <a:srgbClr val="68696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defTabSz="914400" rtl="0" eaLnBrk="1" latinLnBrk="0" hangingPunct="1">
              <a:lnSpc>
                <a:spcPct val="80000"/>
              </a:lnSpc>
              <a:spcBef>
                <a:spcPct val="0"/>
              </a:spcBef>
              <a:buNone/>
              <a:defRPr lang="en-GB" sz="7200" b="0" kern="1200" dirty="0">
                <a:solidFill>
                  <a:schemeClr val="bg1"/>
                </a:solidFill>
                <a:effectLst>
                  <a:outerShdw blurRad="50800" dist="38100" dir="5400000" algn="t" rotWithShape="0">
                    <a:prstClr val="black">
                      <a:alpha val="40000"/>
                    </a:prstClr>
                  </a:outerShdw>
                </a:effectLst>
                <a:latin typeface="3M Circular TT Bold" panose="020B0804020101010102" pitchFamily="34" charset="0"/>
                <a:ea typeface="+mj-ea"/>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64073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3_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3" y="379414"/>
            <a:ext cx="11425237" cy="457200"/>
          </a:xfrm>
        </p:spPr>
        <p:txBody>
          <a:bodyPr/>
          <a:lstStyle/>
          <a:p>
            <a:r>
              <a:rPr lang="en-US"/>
              <a:t>Click to edit Master title style</a:t>
            </a:r>
            <a:endParaRPr lang="en-GB"/>
          </a:p>
        </p:txBody>
      </p:sp>
      <p:sp>
        <p:nvSpPr>
          <p:cNvPr id="7" name="Freeform 5"/>
          <p:cNvSpPr>
            <a:spLocks noEditPoints="1"/>
          </p:cNvSpPr>
          <p:nvPr userDrawn="1"/>
        </p:nvSpPr>
        <p:spPr bwMode="auto">
          <a:xfrm>
            <a:off x="5913041" y="647541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8" name="TextBox 7"/>
          <p:cNvSpPr txBox="1"/>
          <p:nvPr userDrawn="1"/>
        </p:nvSpPr>
        <p:spPr>
          <a:xfrm>
            <a:off x="11590811" y="6596403"/>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err="1">
              <a:solidFill>
                <a:prstClr val="black"/>
              </a:solidFill>
            </a:endParaRPr>
          </a:p>
        </p:txBody>
      </p:sp>
      <p:sp>
        <p:nvSpPr>
          <p:cNvPr id="6" name="Text Placeholder 4"/>
          <p:cNvSpPr>
            <a:spLocks noGrp="1"/>
          </p:cNvSpPr>
          <p:nvPr>
            <p:ph type="body" sz="quarter" idx="10"/>
          </p:nvPr>
        </p:nvSpPr>
        <p:spPr>
          <a:xfrm>
            <a:off x="381001" y="841248"/>
            <a:ext cx="11430000" cy="365760"/>
          </a:xfrm>
        </p:spPr>
        <p:txBody>
          <a:bodyPr/>
          <a:lstStyle>
            <a:lvl1pPr>
              <a:defRPr sz="2000">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3014971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845977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171363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5" name="Rectangle 1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317315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6" name="Rectangle 15"/>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4034863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70"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rIns="0"/>
          <a:lstStyle/>
          <a:p>
            <a:r>
              <a:rPr lang="en-US" dirty="0"/>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5" name="Group 22"/>
          <p:cNvGrpSpPr>
            <a:grpSpLocks/>
          </p:cNvGrpSpPr>
          <p:nvPr userDrawn="1"/>
        </p:nvGrpSpPr>
        <p:grpSpPr bwMode="auto">
          <a:xfrm>
            <a:off x="-264086" y="6596401"/>
            <a:ext cx="2147228" cy="184155"/>
            <a:chOff x="9374212" y="6574531"/>
            <a:chExt cx="2147228" cy="182885"/>
          </a:xfrm>
        </p:grpSpPr>
        <p:grpSp>
          <p:nvGrpSpPr>
            <p:cNvPr id="6" name="Group 8"/>
            <p:cNvGrpSpPr>
              <a:grpSpLocks/>
            </p:cNvGrpSpPr>
            <p:nvPr/>
          </p:nvGrpSpPr>
          <p:grpSpPr bwMode="auto">
            <a:xfrm>
              <a:off x="9374212" y="6574531"/>
              <a:ext cx="2147228" cy="182883"/>
              <a:chOff x="9378677" y="6574531"/>
              <a:chExt cx="2147228" cy="182883"/>
            </a:xfrm>
          </p:grpSpPr>
          <p:sp>
            <p:nvSpPr>
              <p:cNvPr id="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661895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49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379412" y="381000"/>
            <a:ext cx="11425237" cy="457200"/>
          </a:xfrm>
        </p:spPr>
        <p:txBody>
          <a:bodyPr rIns="0"/>
          <a:lstStyle/>
          <a:p>
            <a:r>
              <a:rPr lang="en-US" dirty="0"/>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252065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10"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31 October 2018</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95824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018641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Title, 2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1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 name="Rectangle 1"/>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316815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72045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17" name="Rectangle 16"/>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1046434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9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80999"/>
            <a:ext cx="11425237" cy="821373"/>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01981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dirty="0"/>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1" name="TextBox 10"/>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737503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Large Message">
    <p:spTree>
      <p:nvGrpSpPr>
        <p:cNvPr id="1" name=""/>
        <p:cNvGrpSpPr/>
        <p:nvPr/>
      </p:nvGrpSpPr>
      <p:grpSpPr>
        <a:xfrm>
          <a:off x="0" y="0"/>
          <a:ext cx="0" cy="0"/>
          <a:chOff x="0" y="0"/>
          <a:chExt cx="0" cy="0"/>
        </a:xfrm>
      </p:grpSpPr>
      <p:sp>
        <p:nvSpPr>
          <p:cNvPr id="5" name="Content Placeholder 4"/>
          <p:cNvSpPr>
            <a:spLocks noGrp="1"/>
          </p:cNvSpPr>
          <p:nvPr>
            <p:ph sz="quarter" idx="15"/>
          </p:nvPr>
        </p:nvSpPr>
        <p:spPr>
          <a:xfrm>
            <a:off x="379410" y="1298448"/>
            <a:ext cx="11431590" cy="4956048"/>
          </a:xfrm>
        </p:spPr>
        <p:txBody>
          <a:bodyPr/>
          <a:lstStyle>
            <a:lvl1pPr>
              <a:lnSpc>
                <a:spcPct val="90000"/>
              </a:lnSpc>
              <a:defRPr sz="4800">
                <a:latin typeface="+mj-lt"/>
              </a:defRPr>
            </a:lvl1pPr>
            <a:lvl2pPr>
              <a:defRPr sz="4400">
                <a:latin typeface="+mj-lt"/>
              </a:defRPr>
            </a:lvl2pPr>
            <a:lvl3pPr>
              <a:defRPr sz="4000">
                <a:latin typeface="+mj-lt"/>
              </a:defRPr>
            </a:lvl3pPr>
            <a:lvl4pPr>
              <a:defRPr sz="3600">
                <a:latin typeface="+mj-lt"/>
              </a:defRPr>
            </a:lvl4pPr>
            <a:lvl5pPr>
              <a:defRPr sz="3200">
                <a:latin typeface="+mj-lt"/>
              </a:defRPr>
            </a:lvl5pPr>
          </a:lstStyle>
          <a:p>
            <a:pPr lvl="0"/>
            <a:r>
              <a:rPr lang="en-US" dirty="0"/>
              <a:t>Click to edit Master </a:t>
            </a:r>
            <a:r>
              <a:rPr lang="en-US"/>
              <a:t>text styles</a:t>
            </a:r>
            <a:endParaRPr lang="en-US"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44450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79412" y="384048"/>
            <a:ext cx="11430000" cy="5864352"/>
          </a:xfrm>
        </p:spPr>
        <p:txBody>
          <a:bodyPr rIns="0"/>
          <a:lstStyle>
            <a:lvl1pPr>
              <a:lnSpc>
                <a:spcPct val="90000"/>
              </a:lnSpc>
              <a:defRPr sz="3200">
                <a:latin typeface="+mj-lt"/>
              </a:defRPr>
            </a:lvl1pPr>
            <a:lvl2pPr marL="0" indent="0">
              <a:spcAft>
                <a:spcPts val="1200"/>
              </a:spcAft>
              <a:buNone/>
              <a:defRPr sz="2200">
                <a:latin typeface="+mj-lt"/>
              </a:defRPr>
            </a:lvl2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218369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384048"/>
            <a:ext cx="11426952" cy="5861304"/>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348914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Content Only_ 1/3  2/3">
    <p:spTree>
      <p:nvGrpSpPr>
        <p:cNvPr id="1" name=""/>
        <p:cNvGrpSpPr/>
        <p:nvPr/>
      </p:nvGrpSpPr>
      <p:grpSpPr>
        <a:xfrm>
          <a:off x="0" y="0"/>
          <a:ext cx="0" cy="0"/>
          <a:chOff x="0" y="0"/>
          <a:chExt cx="0" cy="0"/>
        </a:xfrm>
      </p:grpSpPr>
      <p:sp>
        <p:nvSpPr>
          <p:cNvPr id="4"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5" name="Content Placeholder 4"/>
          <p:cNvSpPr>
            <a:spLocks noGrp="1"/>
          </p:cNvSpPr>
          <p:nvPr>
            <p:ph sz="quarter" idx="14"/>
          </p:nvPr>
        </p:nvSpPr>
        <p:spPr>
          <a:xfrm>
            <a:off x="4187952" y="384048"/>
            <a:ext cx="7623048"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342180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8" name="Content Placeholder 4"/>
          <p:cNvSpPr>
            <a:spLocks noGrp="1"/>
          </p:cNvSpPr>
          <p:nvPr>
            <p:ph sz="quarter" idx="13"/>
          </p:nvPr>
        </p:nvSpPr>
        <p:spPr>
          <a:xfrm>
            <a:off x="384048" y="383675"/>
            <a:ext cx="7616952"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r>
              <a:rPr lang="en-US"/>
              <a:t>Click icon to add picture</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31 October 2018</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452948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0"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53691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8" name="Content Placeholder 4"/>
          <p:cNvSpPr>
            <a:spLocks noGrp="1"/>
          </p:cNvSpPr>
          <p:nvPr>
            <p:ph sz="quarter" idx="13"/>
          </p:nvPr>
        </p:nvSpPr>
        <p:spPr>
          <a:xfrm>
            <a:off x="384048" y="383675"/>
            <a:ext cx="7616952" cy="586130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endParaRPr lang="en-US"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175728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384048"/>
            <a:ext cx="3816000" cy="2930652"/>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314646"/>
            <a:ext cx="3816000" cy="2935224"/>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384048"/>
            <a:ext cx="3816000" cy="2930652"/>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314646"/>
            <a:ext cx="3816000" cy="2938462"/>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384048"/>
            <a:ext cx="3816000" cy="2930652"/>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314646"/>
            <a:ext cx="3816000" cy="2938462"/>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4385072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1395358"/>
            <a:ext cx="3816000" cy="2423745"/>
          </a:xfrm>
          <a:solidFill>
            <a:schemeClr val="bg1">
              <a:lumMod val="85000"/>
            </a:schemeClr>
          </a:solidFill>
        </p:spPr>
        <p:txBody>
          <a:bodyPr lIns="0" rIns="0"/>
          <a:lstStyle/>
          <a:p>
            <a:r>
              <a:rPr lang="en-US" dirty="0"/>
              <a:t>Click icon to add picture</a:t>
            </a:r>
            <a:endParaRPr lang="en-GB" dirty="0"/>
          </a:p>
        </p:txBody>
      </p:sp>
      <p:sp>
        <p:nvSpPr>
          <p:cNvPr id="13" name="Picture Placeholder 9"/>
          <p:cNvSpPr>
            <a:spLocks noGrp="1"/>
          </p:cNvSpPr>
          <p:nvPr>
            <p:ph type="pic" sz="quarter" idx="16"/>
          </p:nvPr>
        </p:nvSpPr>
        <p:spPr>
          <a:xfrm>
            <a:off x="384048" y="3822342"/>
            <a:ext cx="3816000" cy="2427527"/>
          </a:xfrm>
          <a:solidFill>
            <a:schemeClr val="bg1">
              <a:lumMod val="85000"/>
            </a:schemeClr>
          </a:solidFill>
        </p:spPr>
        <p:txBody>
          <a:bodyPr lIns="0" rIns="0"/>
          <a:lstStyle/>
          <a:p>
            <a:r>
              <a:rPr lang="en-US" dirty="0"/>
              <a:t>Click icon to add picture</a:t>
            </a:r>
            <a:endParaRPr lang="en-GB" dirty="0"/>
          </a:p>
        </p:txBody>
      </p:sp>
      <p:sp>
        <p:nvSpPr>
          <p:cNvPr id="11" name="Picture Placeholder 9"/>
          <p:cNvSpPr>
            <a:spLocks noGrp="1"/>
          </p:cNvSpPr>
          <p:nvPr>
            <p:ph type="pic" sz="quarter" idx="14"/>
          </p:nvPr>
        </p:nvSpPr>
        <p:spPr>
          <a:xfrm>
            <a:off x="4187310" y="1395358"/>
            <a:ext cx="3816000" cy="2423745"/>
          </a:xfrm>
          <a:solidFill>
            <a:schemeClr val="bg1">
              <a:lumMod val="85000"/>
            </a:schemeClr>
          </a:solidFill>
        </p:spPr>
        <p:txBody>
          <a:bodyPr lIns="0" rIns="0"/>
          <a:lstStyle/>
          <a:p>
            <a:r>
              <a:rPr lang="en-US" dirty="0"/>
              <a:t>Click icon to add picture</a:t>
            </a:r>
            <a:endParaRPr lang="en-GB" dirty="0"/>
          </a:p>
        </p:txBody>
      </p:sp>
      <p:sp>
        <p:nvSpPr>
          <p:cNvPr id="14" name="Picture Placeholder 9"/>
          <p:cNvSpPr>
            <a:spLocks noGrp="1"/>
          </p:cNvSpPr>
          <p:nvPr>
            <p:ph type="pic" sz="quarter" idx="17"/>
          </p:nvPr>
        </p:nvSpPr>
        <p:spPr>
          <a:xfrm>
            <a:off x="4187310" y="3822904"/>
            <a:ext cx="3816000" cy="2430204"/>
          </a:xfrm>
          <a:solidFill>
            <a:schemeClr val="bg1">
              <a:lumMod val="85000"/>
            </a:schemeClr>
          </a:solidFill>
        </p:spPr>
        <p:txBody>
          <a:bodyPr lIns="0" rIns="0"/>
          <a:lstStyle/>
          <a:p>
            <a:r>
              <a:rPr lang="en-US" dirty="0"/>
              <a:t>Click icon to add picture</a:t>
            </a:r>
            <a:endParaRPr lang="en-GB" dirty="0"/>
          </a:p>
        </p:txBody>
      </p:sp>
      <p:sp>
        <p:nvSpPr>
          <p:cNvPr id="12" name="Picture Placeholder 9"/>
          <p:cNvSpPr>
            <a:spLocks noGrp="1"/>
          </p:cNvSpPr>
          <p:nvPr>
            <p:ph type="pic" sz="quarter" idx="15"/>
          </p:nvPr>
        </p:nvSpPr>
        <p:spPr>
          <a:xfrm>
            <a:off x="8001000" y="1395358"/>
            <a:ext cx="3816000" cy="2423745"/>
          </a:xfrm>
          <a:solidFill>
            <a:schemeClr val="bg1">
              <a:lumMod val="85000"/>
            </a:schemeClr>
          </a:solidFill>
        </p:spPr>
        <p:txBody>
          <a:bodyPr lIns="0" rIns="0"/>
          <a:lstStyle/>
          <a:p>
            <a:r>
              <a:rPr lang="en-US" dirty="0"/>
              <a:t>Click icon to add picture</a:t>
            </a:r>
            <a:endParaRPr lang="en-GB" dirty="0"/>
          </a:p>
        </p:txBody>
      </p:sp>
      <p:sp>
        <p:nvSpPr>
          <p:cNvPr id="15" name="Picture Placeholder 9"/>
          <p:cNvSpPr>
            <a:spLocks noGrp="1"/>
          </p:cNvSpPr>
          <p:nvPr>
            <p:ph type="pic" sz="quarter" idx="18"/>
          </p:nvPr>
        </p:nvSpPr>
        <p:spPr>
          <a:xfrm>
            <a:off x="8001000" y="3822904"/>
            <a:ext cx="3816000" cy="2430204"/>
          </a:xfrm>
          <a:solidFill>
            <a:schemeClr val="bg1">
              <a:lumMod val="85000"/>
            </a:schemeClr>
          </a:solidFill>
        </p:spPr>
        <p:txBody>
          <a:bodyPr lIns="0" rIns="0"/>
          <a:lstStyle/>
          <a:p>
            <a:r>
              <a:rPr lang="en-US" dirty="0"/>
              <a:t>Click icon to add picture</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
        <p:nvSpPr>
          <p:cNvPr id="23"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24"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Tree>
    <p:extLst>
      <p:ext uri="{BB962C8B-B14F-4D97-AF65-F5344CB8AC3E}">
        <p14:creationId xmlns:p14="http://schemas.microsoft.com/office/powerpoint/2010/main" val="1646316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4" name="Group 22"/>
          <p:cNvGrpSpPr>
            <a:grpSpLocks/>
          </p:cNvGrpSpPr>
          <p:nvPr userDrawn="1"/>
        </p:nvGrpSpPr>
        <p:grpSpPr bwMode="auto">
          <a:xfrm>
            <a:off x="-264086" y="6596401"/>
            <a:ext cx="2147228" cy="184155"/>
            <a:chOff x="9374212" y="6574531"/>
            <a:chExt cx="2147228" cy="182885"/>
          </a:xfrm>
        </p:grpSpPr>
        <p:grpSp>
          <p:nvGrpSpPr>
            <p:cNvPr id="5" name="Group 8"/>
            <p:cNvGrpSpPr>
              <a:grpSpLocks/>
            </p:cNvGrpSpPr>
            <p:nvPr/>
          </p:nvGrpSpPr>
          <p:grpSpPr bwMode="auto">
            <a:xfrm>
              <a:off x="9374212" y="6574531"/>
              <a:ext cx="2147228" cy="182883"/>
              <a:chOff x="9378677" y="6574531"/>
              <a:chExt cx="2147228" cy="182883"/>
            </a:xfrm>
          </p:grpSpPr>
          <p:sp>
            <p:nvSpPr>
              <p:cNvPr id="7"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8"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9"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6"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0"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544150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Header Option 1">
    <p:spTree>
      <p:nvGrpSpPr>
        <p:cNvPr id="1" name=""/>
        <p:cNvGrpSpPr/>
        <p:nvPr/>
      </p:nvGrpSpPr>
      <p:grpSpPr>
        <a:xfrm>
          <a:off x="0" y="0"/>
          <a:ext cx="0" cy="0"/>
          <a:chOff x="0" y="0"/>
          <a:chExt cx="0" cy="0"/>
        </a:xfrm>
      </p:grpSpPr>
      <p:sp>
        <p:nvSpPr>
          <p:cNvPr id="39" name="Rectangle 38"/>
          <p:cNvSpPr/>
          <p:nvPr userDrawn="1"/>
        </p:nvSpPr>
        <p:spPr>
          <a:xfrm>
            <a:off x="3532" y="33077"/>
            <a:ext cx="12185420" cy="6829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6" name="Freeform 5"/>
          <p:cNvSpPr/>
          <p:nvPr userDrawn="1"/>
        </p:nvSpPr>
        <p:spPr>
          <a:xfrm>
            <a:off x="0" y="3602940"/>
            <a:ext cx="3586808" cy="3259673"/>
          </a:xfrm>
          <a:custGeom>
            <a:avLst/>
            <a:gdLst>
              <a:gd name="connsiteX0" fmla="*/ 1392248 w 3580909"/>
              <a:gd name="connsiteY0" fmla="*/ 0 h 3209249"/>
              <a:gd name="connsiteX1" fmla="*/ 0 w 3580909"/>
              <a:gd name="connsiteY1" fmla="*/ 3209249 h 3209249"/>
              <a:gd name="connsiteX2" fmla="*/ 3580909 w 3580909"/>
              <a:gd name="connsiteY2" fmla="*/ 1215267 h 3209249"/>
              <a:gd name="connsiteX3" fmla="*/ 1392248 w 3580909"/>
              <a:gd name="connsiteY3" fmla="*/ 0 h 3209249"/>
              <a:gd name="connsiteX0" fmla="*/ 1406371 w 3595032"/>
              <a:gd name="connsiteY0" fmla="*/ 0 h 3209249"/>
              <a:gd name="connsiteX1" fmla="*/ 0 w 3595032"/>
              <a:gd name="connsiteY1" fmla="*/ 3209249 h 3209249"/>
              <a:gd name="connsiteX2" fmla="*/ 3595032 w 3595032"/>
              <a:gd name="connsiteY2" fmla="*/ 1215267 h 3209249"/>
              <a:gd name="connsiteX3" fmla="*/ 1406371 w 3595032"/>
              <a:gd name="connsiteY3" fmla="*/ 0 h 3209249"/>
              <a:gd name="connsiteX0" fmla="*/ 1399310 w 3587971"/>
              <a:gd name="connsiteY0" fmla="*/ 0 h 3209249"/>
              <a:gd name="connsiteX1" fmla="*/ 0 w 3587971"/>
              <a:gd name="connsiteY1" fmla="*/ 3209249 h 3209249"/>
              <a:gd name="connsiteX2" fmla="*/ 3587971 w 3587971"/>
              <a:gd name="connsiteY2" fmla="*/ 1215267 h 3209249"/>
              <a:gd name="connsiteX3" fmla="*/ 1399310 w 3587971"/>
              <a:gd name="connsiteY3" fmla="*/ 0 h 3209249"/>
              <a:gd name="connsiteX0" fmla="*/ 1399310 w 3587971"/>
              <a:gd name="connsiteY0" fmla="*/ 0 h 3252111"/>
              <a:gd name="connsiteX1" fmla="*/ 0 w 3587971"/>
              <a:gd name="connsiteY1" fmla="*/ 3252111 h 3252111"/>
              <a:gd name="connsiteX2" fmla="*/ 3587971 w 3587971"/>
              <a:gd name="connsiteY2" fmla="*/ 1258129 h 3252111"/>
              <a:gd name="connsiteX3" fmla="*/ 1399310 w 3587971"/>
              <a:gd name="connsiteY3" fmla="*/ 0 h 3252111"/>
              <a:gd name="connsiteX0" fmla="*/ 1396734 w 3585395"/>
              <a:gd name="connsiteY0" fmla="*/ 0 h 3264990"/>
              <a:gd name="connsiteX1" fmla="*/ 0 w 3585395"/>
              <a:gd name="connsiteY1" fmla="*/ 3264990 h 3264990"/>
              <a:gd name="connsiteX2" fmla="*/ 3585395 w 3585395"/>
              <a:gd name="connsiteY2" fmla="*/ 1258129 h 3264990"/>
              <a:gd name="connsiteX3" fmla="*/ 1396734 w 3585395"/>
              <a:gd name="connsiteY3" fmla="*/ 0 h 3264990"/>
              <a:gd name="connsiteX0" fmla="*/ 1404461 w 3593122"/>
              <a:gd name="connsiteY0" fmla="*/ 0 h 3267566"/>
              <a:gd name="connsiteX1" fmla="*/ 0 w 3593122"/>
              <a:gd name="connsiteY1" fmla="*/ 3267566 h 3267566"/>
              <a:gd name="connsiteX2" fmla="*/ 3593122 w 3593122"/>
              <a:gd name="connsiteY2" fmla="*/ 1258129 h 3267566"/>
              <a:gd name="connsiteX3" fmla="*/ 1404461 w 3593122"/>
              <a:gd name="connsiteY3" fmla="*/ 0 h 3267566"/>
            </a:gdLst>
            <a:ahLst/>
            <a:cxnLst>
              <a:cxn ang="0">
                <a:pos x="connsiteX0" y="connsiteY0"/>
              </a:cxn>
              <a:cxn ang="0">
                <a:pos x="connsiteX1" y="connsiteY1"/>
              </a:cxn>
              <a:cxn ang="0">
                <a:pos x="connsiteX2" y="connsiteY2"/>
              </a:cxn>
              <a:cxn ang="0">
                <a:pos x="connsiteX3" y="connsiteY3"/>
              </a:cxn>
            </a:cxnLst>
            <a:rect l="l" t="t" r="r" b="b"/>
            <a:pathLst>
              <a:path w="3593122" h="3267566">
                <a:moveTo>
                  <a:pt x="1404461" y="0"/>
                </a:moveTo>
                <a:lnTo>
                  <a:pt x="0" y="3267566"/>
                </a:lnTo>
                <a:lnTo>
                  <a:pt x="3593122" y="1258129"/>
                </a:lnTo>
                <a:lnTo>
                  <a:pt x="1404461" y="0"/>
                </a:lnTo>
                <a:close/>
              </a:path>
            </a:pathLst>
          </a:custGeom>
          <a:gradFill>
            <a:gsLst>
              <a:gs pos="15000">
                <a:schemeClr val="accent2"/>
              </a:gs>
              <a:gs pos="100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7" name="Freeform 6"/>
          <p:cNvSpPr/>
          <p:nvPr userDrawn="1"/>
        </p:nvSpPr>
        <p:spPr>
          <a:xfrm>
            <a:off x="1390330" y="1741468"/>
            <a:ext cx="2199979" cy="3164694"/>
          </a:xfrm>
          <a:custGeom>
            <a:avLst/>
            <a:gdLst>
              <a:gd name="connsiteX0" fmla="*/ 1739462 w 2186152"/>
              <a:gd name="connsiteY0" fmla="*/ 0 h 3095296"/>
              <a:gd name="connsiteX1" fmla="*/ 0 w 2186152"/>
              <a:gd name="connsiteY1" fmla="*/ 1891862 h 3095296"/>
              <a:gd name="connsiteX2" fmla="*/ 2186152 w 2186152"/>
              <a:gd name="connsiteY2" fmla="*/ 3095296 h 3095296"/>
              <a:gd name="connsiteX3" fmla="*/ 1739462 w 2186152"/>
              <a:gd name="connsiteY3" fmla="*/ 0 h 3095296"/>
              <a:gd name="connsiteX0" fmla="*/ 1733563 w 2186152"/>
              <a:gd name="connsiteY0" fmla="*/ 0 h 3112994"/>
              <a:gd name="connsiteX1" fmla="*/ 0 w 2186152"/>
              <a:gd name="connsiteY1" fmla="*/ 1909560 h 3112994"/>
              <a:gd name="connsiteX2" fmla="*/ 2186152 w 2186152"/>
              <a:gd name="connsiteY2" fmla="*/ 3112994 h 3112994"/>
              <a:gd name="connsiteX3" fmla="*/ 1733563 w 2186152"/>
              <a:gd name="connsiteY3" fmla="*/ 0 h 3112994"/>
              <a:gd name="connsiteX0" fmla="*/ 1752613 w 2186152"/>
              <a:gd name="connsiteY0" fmla="*/ 0 h 3108232"/>
              <a:gd name="connsiteX1" fmla="*/ 0 w 2186152"/>
              <a:gd name="connsiteY1" fmla="*/ 1904798 h 3108232"/>
              <a:gd name="connsiteX2" fmla="*/ 2186152 w 2186152"/>
              <a:gd name="connsiteY2" fmla="*/ 3108232 h 3108232"/>
              <a:gd name="connsiteX3" fmla="*/ 1752613 w 2186152"/>
              <a:gd name="connsiteY3" fmla="*/ 0 h 3108232"/>
              <a:gd name="connsiteX0" fmla="*/ 1738326 w 2186152"/>
              <a:gd name="connsiteY0" fmla="*/ 0 h 3108232"/>
              <a:gd name="connsiteX1" fmla="*/ 0 w 2186152"/>
              <a:gd name="connsiteY1" fmla="*/ 1904798 h 3108232"/>
              <a:gd name="connsiteX2" fmla="*/ 2186152 w 2186152"/>
              <a:gd name="connsiteY2" fmla="*/ 3108232 h 3108232"/>
              <a:gd name="connsiteX3" fmla="*/ 1738326 w 2186152"/>
              <a:gd name="connsiteY3" fmla="*/ 0 h 3108232"/>
              <a:gd name="connsiteX0" fmla="*/ 1724039 w 2186152"/>
              <a:gd name="connsiteY0" fmla="*/ 0 h 3089182"/>
              <a:gd name="connsiteX1" fmla="*/ 0 w 2186152"/>
              <a:gd name="connsiteY1" fmla="*/ 1885748 h 3089182"/>
              <a:gd name="connsiteX2" fmla="*/ 2186152 w 2186152"/>
              <a:gd name="connsiteY2" fmla="*/ 3089182 h 3089182"/>
              <a:gd name="connsiteX3" fmla="*/ 1724039 w 2186152"/>
              <a:gd name="connsiteY3" fmla="*/ 0 h 3089182"/>
              <a:gd name="connsiteX0" fmla="*/ 1743089 w 2205202"/>
              <a:gd name="connsiteY0" fmla="*/ 0 h 3089182"/>
              <a:gd name="connsiteX1" fmla="*/ 0 w 2205202"/>
              <a:gd name="connsiteY1" fmla="*/ 1861935 h 3089182"/>
              <a:gd name="connsiteX2" fmla="*/ 2205202 w 2205202"/>
              <a:gd name="connsiteY2" fmla="*/ 3089182 h 3089182"/>
              <a:gd name="connsiteX3" fmla="*/ 1743089 w 2205202"/>
              <a:gd name="connsiteY3" fmla="*/ 0 h 3089182"/>
              <a:gd name="connsiteX0" fmla="*/ 1733564 w 2205202"/>
              <a:gd name="connsiteY0" fmla="*/ 0 h 3079657"/>
              <a:gd name="connsiteX1" fmla="*/ 0 w 2205202"/>
              <a:gd name="connsiteY1" fmla="*/ 1852410 h 3079657"/>
              <a:gd name="connsiteX2" fmla="*/ 2205202 w 2205202"/>
              <a:gd name="connsiteY2" fmla="*/ 3079657 h 3079657"/>
              <a:gd name="connsiteX3" fmla="*/ 1733564 w 2205202"/>
              <a:gd name="connsiteY3" fmla="*/ 0 h 3079657"/>
              <a:gd name="connsiteX0" fmla="*/ 1695464 w 2167102"/>
              <a:gd name="connsiteY0" fmla="*/ 0 h 3079657"/>
              <a:gd name="connsiteX1" fmla="*/ 0 w 2167102"/>
              <a:gd name="connsiteY1" fmla="*/ 1871460 h 3079657"/>
              <a:gd name="connsiteX2" fmla="*/ 2167102 w 2167102"/>
              <a:gd name="connsiteY2" fmla="*/ 3079657 h 3079657"/>
              <a:gd name="connsiteX3" fmla="*/ 1695464 w 2167102"/>
              <a:gd name="connsiteY3" fmla="*/ 0 h 3079657"/>
              <a:gd name="connsiteX0" fmla="*/ 1724039 w 2195677"/>
              <a:gd name="connsiteY0" fmla="*/ 0 h 3079657"/>
              <a:gd name="connsiteX1" fmla="*/ 0 w 2195677"/>
              <a:gd name="connsiteY1" fmla="*/ 1866698 h 3079657"/>
              <a:gd name="connsiteX2" fmla="*/ 2195677 w 2195677"/>
              <a:gd name="connsiteY2" fmla="*/ 3079657 h 3079657"/>
              <a:gd name="connsiteX3" fmla="*/ 1724039 w 2195677"/>
              <a:gd name="connsiteY3" fmla="*/ 0 h 3079657"/>
              <a:gd name="connsiteX0" fmla="*/ 1746073 w 2195677"/>
              <a:gd name="connsiteY0" fmla="*/ 0 h 3079657"/>
              <a:gd name="connsiteX1" fmla="*/ 0 w 2195677"/>
              <a:gd name="connsiteY1" fmla="*/ 1866698 h 3079657"/>
              <a:gd name="connsiteX2" fmla="*/ 2195677 w 2195677"/>
              <a:gd name="connsiteY2" fmla="*/ 3079657 h 3079657"/>
              <a:gd name="connsiteX3" fmla="*/ 1746073 w 2195677"/>
              <a:gd name="connsiteY3" fmla="*/ 0 h 3079657"/>
              <a:gd name="connsiteX0" fmla="*/ 1714323 w 2195677"/>
              <a:gd name="connsiteY0" fmla="*/ 0 h 3098707"/>
              <a:gd name="connsiteX1" fmla="*/ 0 w 2195677"/>
              <a:gd name="connsiteY1" fmla="*/ 1885748 h 3098707"/>
              <a:gd name="connsiteX2" fmla="*/ 2195677 w 2195677"/>
              <a:gd name="connsiteY2" fmla="*/ 3098707 h 3098707"/>
              <a:gd name="connsiteX3" fmla="*/ 1714323 w 2195677"/>
              <a:gd name="connsiteY3" fmla="*/ 0 h 3098707"/>
              <a:gd name="connsiteX0" fmla="*/ 1720673 w 2195677"/>
              <a:gd name="connsiteY0" fmla="*/ 0 h 3092357"/>
              <a:gd name="connsiteX1" fmla="*/ 0 w 2195677"/>
              <a:gd name="connsiteY1" fmla="*/ 1879398 h 3092357"/>
              <a:gd name="connsiteX2" fmla="*/ 2195677 w 2195677"/>
              <a:gd name="connsiteY2" fmla="*/ 3092357 h 3092357"/>
              <a:gd name="connsiteX3" fmla="*/ 1720673 w 2195677"/>
              <a:gd name="connsiteY3" fmla="*/ 0 h 3092357"/>
              <a:gd name="connsiteX0" fmla="*/ 1739723 w 2195677"/>
              <a:gd name="connsiteY0" fmla="*/ 0 h 3086007"/>
              <a:gd name="connsiteX1" fmla="*/ 0 w 2195677"/>
              <a:gd name="connsiteY1" fmla="*/ 1873048 h 3086007"/>
              <a:gd name="connsiteX2" fmla="*/ 2195677 w 2195677"/>
              <a:gd name="connsiteY2" fmla="*/ 3086007 h 3086007"/>
              <a:gd name="connsiteX3" fmla="*/ 1739723 w 2195677"/>
              <a:gd name="connsiteY3" fmla="*/ 0 h 3086007"/>
              <a:gd name="connsiteX0" fmla="*/ 1720673 w 2195677"/>
              <a:gd name="connsiteY0" fmla="*/ 0 h 3155857"/>
              <a:gd name="connsiteX1" fmla="*/ 0 w 2195677"/>
              <a:gd name="connsiteY1" fmla="*/ 1942898 h 3155857"/>
              <a:gd name="connsiteX2" fmla="*/ 2195677 w 2195677"/>
              <a:gd name="connsiteY2" fmla="*/ 3155857 h 3155857"/>
              <a:gd name="connsiteX3" fmla="*/ 1720673 w 2195677"/>
              <a:gd name="connsiteY3" fmla="*/ 0 h 3155857"/>
              <a:gd name="connsiteX0" fmla="*/ 1720673 w 2195677"/>
              <a:gd name="connsiteY0" fmla="*/ 0 h 3079657"/>
              <a:gd name="connsiteX1" fmla="*/ 0 w 2195677"/>
              <a:gd name="connsiteY1" fmla="*/ 1866698 h 3079657"/>
              <a:gd name="connsiteX2" fmla="*/ 2195677 w 2195677"/>
              <a:gd name="connsiteY2" fmla="*/ 3079657 h 3079657"/>
              <a:gd name="connsiteX3" fmla="*/ 1720673 w 2195677"/>
              <a:gd name="connsiteY3" fmla="*/ 0 h 3079657"/>
              <a:gd name="connsiteX0" fmla="*/ 1720673 w 2195677"/>
              <a:gd name="connsiteY0" fmla="*/ 0 h 3149507"/>
              <a:gd name="connsiteX1" fmla="*/ 0 w 2195677"/>
              <a:gd name="connsiteY1" fmla="*/ 1936548 h 3149507"/>
              <a:gd name="connsiteX2" fmla="*/ 2195677 w 2195677"/>
              <a:gd name="connsiteY2" fmla="*/ 3149507 h 3149507"/>
              <a:gd name="connsiteX3" fmla="*/ 1720673 w 219567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24975 w 2199979"/>
              <a:gd name="connsiteY0" fmla="*/ 0 h 3149507"/>
              <a:gd name="connsiteX1" fmla="*/ 0 w 2199979"/>
              <a:gd name="connsiteY1" fmla="*/ 1921800 h 3149507"/>
              <a:gd name="connsiteX2" fmla="*/ 2199979 w 2199979"/>
              <a:gd name="connsiteY2" fmla="*/ 3149507 h 3149507"/>
              <a:gd name="connsiteX3" fmla="*/ 1724975 w 2199979"/>
              <a:gd name="connsiteY3" fmla="*/ 0 h 3149507"/>
              <a:gd name="connsiteX0" fmla="*/ 1722399 w 2199979"/>
              <a:gd name="connsiteY0" fmla="*/ 0 h 3072234"/>
              <a:gd name="connsiteX1" fmla="*/ 0 w 2199979"/>
              <a:gd name="connsiteY1" fmla="*/ 1844527 h 3072234"/>
              <a:gd name="connsiteX2" fmla="*/ 2199979 w 2199979"/>
              <a:gd name="connsiteY2" fmla="*/ 3072234 h 3072234"/>
              <a:gd name="connsiteX3" fmla="*/ 1722399 w 2199979"/>
              <a:gd name="connsiteY3" fmla="*/ 0 h 3072234"/>
              <a:gd name="connsiteX0" fmla="*/ 1722399 w 2199979"/>
              <a:gd name="connsiteY0" fmla="*/ 0 h 3123750"/>
              <a:gd name="connsiteX1" fmla="*/ 0 w 2199979"/>
              <a:gd name="connsiteY1" fmla="*/ 1896043 h 3123750"/>
              <a:gd name="connsiteX2" fmla="*/ 2199979 w 2199979"/>
              <a:gd name="connsiteY2" fmla="*/ 3123750 h 3123750"/>
              <a:gd name="connsiteX3" fmla="*/ 1722399 w 2199979"/>
              <a:gd name="connsiteY3" fmla="*/ 0 h 3123750"/>
              <a:gd name="connsiteX0" fmla="*/ 1736047 w 2199979"/>
              <a:gd name="connsiteY0" fmla="*/ 0 h 3164694"/>
              <a:gd name="connsiteX1" fmla="*/ 0 w 2199979"/>
              <a:gd name="connsiteY1" fmla="*/ 1936987 h 3164694"/>
              <a:gd name="connsiteX2" fmla="*/ 2199979 w 2199979"/>
              <a:gd name="connsiteY2" fmla="*/ 3164694 h 3164694"/>
              <a:gd name="connsiteX3" fmla="*/ 1736047 w 2199979"/>
              <a:gd name="connsiteY3" fmla="*/ 0 h 3164694"/>
            </a:gdLst>
            <a:ahLst/>
            <a:cxnLst>
              <a:cxn ang="0">
                <a:pos x="connsiteX0" y="connsiteY0"/>
              </a:cxn>
              <a:cxn ang="0">
                <a:pos x="connsiteX1" y="connsiteY1"/>
              </a:cxn>
              <a:cxn ang="0">
                <a:pos x="connsiteX2" y="connsiteY2"/>
              </a:cxn>
              <a:cxn ang="0">
                <a:pos x="connsiteX3" y="connsiteY3"/>
              </a:cxn>
            </a:cxnLst>
            <a:rect l="l" t="t" r="r" b="b"/>
            <a:pathLst>
              <a:path w="2199979" h="3164694">
                <a:moveTo>
                  <a:pt x="1736047" y="0"/>
                </a:moveTo>
                <a:lnTo>
                  <a:pt x="0" y="1936987"/>
                </a:lnTo>
                <a:lnTo>
                  <a:pt x="2199979" y="3164694"/>
                </a:lnTo>
                <a:lnTo>
                  <a:pt x="1736047" y="0"/>
                </a:lnTo>
                <a:close/>
              </a:path>
            </a:pathLst>
          </a:custGeom>
          <a:gradFill>
            <a:gsLst>
              <a:gs pos="15000">
                <a:schemeClr val="accent2"/>
              </a:gs>
              <a:gs pos="100000">
                <a:schemeClr val="accent1"/>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8" name="Freeform 7"/>
          <p:cNvSpPr/>
          <p:nvPr userDrawn="1"/>
        </p:nvSpPr>
        <p:spPr>
          <a:xfrm>
            <a:off x="6375805" y="1"/>
            <a:ext cx="4644129" cy="1222744"/>
          </a:xfrm>
          <a:custGeom>
            <a:avLst/>
            <a:gdLst>
              <a:gd name="connsiteX0" fmla="*/ 0 w 4550735"/>
              <a:gd name="connsiteY0" fmla="*/ 0 h 1222745"/>
              <a:gd name="connsiteX1" fmla="*/ 1222744 w 4550735"/>
              <a:gd name="connsiteY1" fmla="*/ 1222745 h 1222745"/>
              <a:gd name="connsiteX2" fmla="*/ 4550735 w 4550735"/>
              <a:gd name="connsiteY2" fmla="*/ 10633 h 1222745"/>
              <a:gd name="connsiteX3" fmla="*/ 0 w 4550735"/>
              <a:gd name="connsiteY3" fmla="*/ 0 h 1222745"/>
              <a:gd name="connsiteX0" fmla="*/ 0 w 4582633"/>
              <a:gd name="connsiteY0" fmla="*/ 10633 h 1212112"/>
              <a:gd name="connsiteX1" fmla="*/ 1254642 w 4582633"/>
              <a:gd name="connsiteY1" fmla="*/ 1212112 h 1212112"/>
              <a:gd name="connsiteX2" fmla="*/ 4582633 w 4582633"/>
              <a:gd name="connsiteY2" fmla="*/ 0 h 1212112"/>
              <a:gd name="connsiteX3" fmla="*/ 0 w 4582633"/>
              <a:gd name="connsiteY3" fmla="*/ 10633 h 1212112"/>
              <a:gd name="connsiteX0" fmla="*/ 0 w 4566685"/>
              <a:gd name="connsiteY0" fmla="*/ 0 h 1228061"/>
              <a:gd name="connsiteX1" fmla="*/ 1238694 w 4566685"/>
              <a:gd name="connsiteY1" fmla="*/ 1228061 h 1228061"/>
              <a:gd name="connsiteX2" fmla="*/ 4566685 w 4566685"/>
              <a:gd name="connsiteY2" fmla="*/ 15949 h 1228061"/>
              <a:gd name="connsiteX3" fmla="*/ 0 w 4566685"/>
              <a:gd name="connsiteY3" fmla="*/ 0 h 1228061"/>
              <a:gd name="connsiteX0" fmla="*/ 0 w 4566685"/>
              <a:gd name="connsiteY0" fmla="*/ 0 h 1217428"/>
              <a:gd name="connsiteX1" fmla="*/ 1238694 w 4566685"/>
              <a:gd name="connsiteY1" fmla="*/ 1217428 h 1217428"/>
              <a:gd name="connsiteX2" fmla="*/ 4566685 w 4566685"/>
              <a:gd name="connsiteY2" fmla="*/ 5316 h 1217428"/>
              <a:gd name="connsiteX3" fmla="*/ 0 w 4566685"/>
              <a:gd name="connsiteY3" fmla="*/ 0 h 1217428"/>
              <a:gd name="connsiteX0" fmla="*/ 0 w 4614532"/>
              <a:gd name="connsiteY0" fmla="*/ 0 h 1217428"/>
              <a:gd name="connsiteX1" fmla="*/ 1238694 w 4614532"/>
              <a:gd name="connsiteY1" fmla="*/ 1217428 h 1217428"/>
              <a:gd name="connsiteX2" fmla="*/ 4614532 w 4614532"/>
              <a:gd name="connsiteY2" fmla="*/ 5316 h 1217428"/>
              <a:gd name="connsiteX3" fmla="*/ 0 w 4614532"/>
              <a:gd name="connsiteY3" fmla="*/ 0 h 1217428"/>
              <a:gd name="connsiteX0" fmla="*/ 0 w 4614532"/>
              <a:gd name="connsiteY0" fmla="*/ 0 h 1228060"/>
              <a:gd name="connsiteX1" fmla="*/ 1286541 w 4614532"/>
              <a:gd name="connsiteY1" fmla="*/ 1228060 h 1228060"/>
              <a:gd name="connsiteX2" fmla="*/ 4614532 w 4614532"/>
              <a:gd name="connsiteY2" fmla="*/ 5316 h 1228060"/>
              <a:gd name="connsiteX3" fmla="*/ 0 w 4614532"/>
              <a:gd name="connsiteY3" fmla="*/ 0 h 1228060"/>
              <a:gd name="connsiteX0" fmla="*/ 0 w 4614532"/>
              <a:gd name="connsiteY0" fmla="*/ 10633 h 1222744"/>
              <a:gd name="connsiteX1" fmla="*/ 1286541 w 4614532"/>
              <a:gd name="connsiteY1" fmla="*/ 1222744 h 1222744"/>
              <a:gd name="connsiteX2" fmla="*/ 4614532 w 4614532"/>
              <a:gd name="connsiteY2" fmla="*/ 0 h 1222744"/>
              <a:gd name="connsiteX3" fmla="*/ 0 w 4614532"/>
              <a:gd name="connsiteY3" fmla="*/ 10633 h 1222744"/>
              <a:gd name="connsiteX0" fmla="*/ 0 w 4614532"/>
              <a:gd name="connsiteY0" fmla="*/ 10633 h 1201479"/>
              <a:gd name="connsiteX1" fmla="*/ 1238695 w 4614532"/>
              <a:gd name="connsiteY1" fmla="*/ 1201479 h 1201479"/>
              <a:gd name="connsiteX2" fmla="*/ 4614532 w 4614532"/>
              <a:gd name="connsiteY2" fmla="*/ 0 h 1201479"/>
              <a:gd name="connsiteX3" fmla="*/ 0 w 4614532"/>
              <a:gd name="connsiteY3" fmla="*/ 10633 h 1201479"/>
              <a:gd name="connsiteX0" fmla="*/ 0 w 4614532"/>
              <a:gd name="connsiteY0" fmla="*/ 10633 h 1222744"/>
              <a:gd name="connsiteX1" fmla="*/ 1249328 w 4614532"/>
              <a:gd name="connsiteY1" fmla="*/ 1222744 h 1222744"/>
              <a:gd name="connsiteX2" fmla="*/ 4614532 w 4614532"/>
              <a:gd name="connsiteY2" fmla="*/ 0 h 1222744"/>
              <a:gd name="connsiteX3" fmla="*/ 0 w 4614532"/>
              <a:gd name="connsiteY3" fmla="*/ 10633 h 1222744"/>
              <a:gd name="connsiteX0" fmla="*/ 0 w 4614532"/>
              <a:gd name="connsiteY0" fmla="*/ 0 h 1222744"/>
              <a:gd name="connsiteX1" fmla="*/ 1249328 w 4614532"/>
              <a:gd name="connsiteY1" fmla="*/ 1222744 h 1222744"/>
              <a:gd name="connsiteX2" fmla="*/ 4614532 w 4614532"/>
              <a:gd name="connsiteY2" fmla="*/ 0 h 1222744"/>
              <a:gd name="connsiteX3" fmla="*/ 0 w 4614532"/>
              <a:gd name="connsiteY3" fmla="*/ 0 h 1222744"/>
              <a:gd name="connsiteX0" fmla="*/ 0 w 4630481"/>
              <a:gd name="connsiteY0" fmla="*/ 0 h 1222744"/>
              <a:gd name="connsiteX1" fmla="*/ 1249328 w 4630481"/>
              <a:gd name="connsiteY1" fmla="*/ 1222744 h 1222744"/>
              <a:gd name="connsiteX2" fmla="*/ 4630481 w 4630481"/>
              <a:gd name="connsiteY2" fmla="*/ 0 h 1222744"/>
              <a:gd name="connsiteX3" fmla="*/ 0 w 4630481"/>
              <a:gd name="connsiteY3" fmla="*/ 0 h 1222744"/>
              <a:gd name="connsiteX0" fmla="*/ 0 w 4671425"/>
              <a:gd name="connsiteY0" fmla="*/ 0 h 1222744"/>
              <a:gd name="connsiteX1" fmla="*/ 1290272 w 4671425"/>
              <a:gd name="connsiteY1" fmla="*/ 1222744 h 1222744"/>
              <a:gd name="connsiteX2" fmla="*/ 4671425 w 4671425"/>
              <a:gd name="connsiteY2" fmla="*/ 0 h 1222744"/>
              <a:gd name="connsiteX3" fmla="*/ 0 w 4671425"/>
              <a:gd name="connsiteY3" fmla="*/ 0 h 1222744"/>
              <a:gd name="connsiteX0" fmla="*/ 0 w 4671425"/>
              <a:gd name="connsiteY0" fmla="*/ 0 h 1222744"/>
              <a:gd name="connsiteX1" fmla="*/ 1290272 w 4671425"/>
              <a:gd name="connsiteY1" fmla="*/ 1222744 h 1222744"/>
              <a:gd name="connsiteX2" fmla="*/ 4671425 w 4671425"/>
              <a:gd name="connsiteY2" fmla="*/ 614149 h 1222744"/>
              <a:gd name="connsiteX3" fmla="*/ 0 w 4671425"/>
              <a:gd name="connsiteY3" fmla="*/ 0 h 1222744"/>
              <a:gd name="connsiteX0" fmla="*/ 0 w 4657777"/>
              <a:gd name="connsiteY0" fmla="*/ 13648 h 1236392"/>
              <a:gd name="connsiteX1" fmla="*/ 1290272 w 4657777"/>
              <a:gd name="connsiteY1" fmla="*/ 1236392 h 1236392"/>
              <a:gd name="connsiteX2" fmla="*/ 4657777 w 4657777"/>
              <a:gd name="connsiteY2" fmla="*/ 0 h 1236392"/>
              <a:gd name="connsiteX3" fmla="*/ 0 w 4657777"/>
              <a:gd name="connsiteY3" fmla="*/ 13648 h 1236392"/>
              <a:gd name="connsiteX0" fmla="*/ 0 w 4644129"/>
              <a:gd name="connsiteY0" fmla="*/ 0 h 1222744"/>
              <a:gd name="connsiteX1" fmla="*/ 1290272 w 4644129"/>
              <a:gd name="connsiteY1" fmla="*/ 1222744 h 1222744"/>
              <a:gd name="connsiteX2" fmla="*/ 4644129 w 4644129"/>
              <a:gd name="connsiteY2" fmla="*/ 0 h 1222744"/>
              <a:gd name="connsiteX3" fmla="*/ 0 w 4644129"/>
              <a:gd name="connsiteY3" fmla="*/ 0 h 1222744"/>
            </a:gdLst>
            <a:ahLst/>
            <a:cxnLst>
              <a:cxn ang="0">
                <a:pos x="connsiteX0" y="connsiteY0"/>
              </a:cxn>
              <a:cxn ang="0">
                <a:pos x="connsiteX1" y="connsiteY1"/>
              </a:cxn>
              <a:cxn ang="0">
                <a:pos x="connsiteX2" y="connsiteY2"/>
              </a:cxn>
              <a:cxn ang="0">
                <a:pos x="connsiteX3" y="connsiteY3"/>
              </a:cxn>
            </a:cxnLst>
            <a:rect l="l" t="t" r="r" b="b"/>
            <a:pathLst>
              <a:path w="4644129" h="1222744">
                <a:moveTo>
                  <a:pt x="0" y="0"/>
                </a:moveTo>
                <a:lnTo>
                  <a:pt x="1290272" y="1222744"/>
                </a:lnTo>
                <a:lnTo>
                  <a:pt x="4644129" y="0"/>
                </a:lnTo>
                <a:lnTo>
                  <a:pt x="0" y="0"/>
                </a:lnTo>
                <a:close/>
              </a:path>
            </a:pathLst>
          </a:custGeom>
          <a:gradFill>
            <a:gsLst>
              <a:gs pos="100000">
                <a:schemeClr val="accent2"/>
              </a:gs>
              <a:gs pos="44000">
                <a:schemeClr val="accent1"/>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 name="Freeform 8"/>
          <p:cNvSpPr/>
          <p:nvPr userDrawn="1"/>
        </p:nvSpPr>
        <p:spPr>
          <a:xfrm>
            <a:off x="4052439" y="2989173"/>
            <a:ext cx="3708351" cy="2971471"/>
          </a:xfrm>
          <a:custGeom>
            <a:avLst/>
            <a:gdLst>
              <a:gd name="connsiteX0" fmla="*/ 2291255 w 3641834"/>
              <a:gd name="connsiteY0" fmla="*/ 0 h 2958662"/>
              <a:gd name="connsiteX1" fmla="*/ 3641834 w 3641834"/>
              <a:gd name="connsiteY1" fmla="*/ 1692165 h 2958662"/>
              <a:gd name="connsiteX2" fmla="*/ 0 w 3641834"/>
              <a:gd name="connsiteY2" fmla="*/ 2958662 h 2958662"/>
              <a:gd name="connsiteX3" fmla="*/ 2291255 w 3641834"/>
              <a:gd name="connsiteY3" fmla="*/ 0 h 2958662"/>
              <a:gd name="connsiteX0" fmla="*/ 2291255 w 3641834"/>
              <a:gd name="connsiteY0" fmla="*/ 0 h 2963917"/>
              <a:gd name="connsiteX1" fmla="*/ 3641834 w 3641834"/>
              <a:gd name="connsiteY1" fmla="*/ 1697420 h 2963917"/>
              <a:gd name="connsiteX2" fmla="*/ 0 w 3641834"/>
              <a:gd name="connsiteY2" fmla="*/ 2963917 h 2963917"/>
              <a:gd name="connsiteX3" fmla="*/ 2291255 w 3641834"/>
              <a:gd name="connsiteY3" fmla="*/ 0 h 2963917"/>
              <a:gd name="connsiteX0" fmla="*/ 2301765 w 3641834"/>
              <a:gd name="connsiteY0" fmla="*/ 0 h 2948152"/>
              <a:gd name="connsiteX1" fmla="*/ 3641834 w 3641834"/>
              <a:gd name="connsiteY1" fmla="*/ 1681655 h 2948152"/>
              <a:gd name="connsiteX2" fmla="*/ 0 w 3641834"/>
              <a:gd name="connsiteY2" fmla="*/ 2948152 h 2948152"/>
              <a:gd name="connsiteX3" fmla="*/ 2301765 w 3641834"/>
              <a:gd name="connsiteY3" fmla="*/ 0 h 2948152"/>
              <a:gd name="connsiteX0" fmla="*/ 2293452 w 3641834"/>
              <a:gd name="connsiteY0" fmla="*/ 0 h 2948152"/>
              <a:gd name="connsiteX1" fmla="*/ 3641834 w 3641834"/>
              <a:gd name="connsiteY1" fmla="*/ 1681655 h 2948152"/>
              <a:gd name="connsiteX2" fmla="*/ 0 w 3641834"/>
              <a:gd name="connsiteY2" fmla="*/ 2948152 h 2948152"/>
              <a:gd name="connsiteX3" fmla="*/ 2293452 w 3641834"/>
              <a:gd name="connsiteY3" fmla="*/ 0 h 2948152"/>
              <a:gd name="connsiteX0" fmla="*/ 2305379 w 3653761"/>
              <a:gd name="connsiteY0" fmla="*/ 0 h 2944176"/>
              <a:gd name="connsiteX1" fmla="*/ 3653761 w 3653761"/>
              <a:gd name="connsiteY1" fmla="*/ 1681655 h 2944176"/>
              <a:gd name="connsiteX2" fmla="*/ 0 w 3653761"/>
              <a:gd name="connsiteY2" fmla="*/ 2944176 h 2944176"/>
              <a:gd name="connsiteX3" fmla="*/ 2305379 w 3653761"/>
              <a:gd name="connsiteY3" fmla="*/ 0 h 2944176"/>
              <a:gd name="connsiteX0" fmla="*/ 2291731 w 3653761"/>
              <a:gd name="connsiteY0" fmla="*/ 0 h 2944176"/>
              <a:gd name="connsiteX1" fmla="*/ 3653761 w 3653761"/>
              <a:gd name="connsiteY1" fmla="*/ 1681655 h 2944176"/>
              <a:gd name="connsiteX2" fmla="*/ 0 w 3653761"/>
              <a:gd name="connsiteY2" fmla="*/ 2944176 h 2944176"/>
              <a:gd name="connsiteX3" fmla="*/ 2291731 w 3653761"/>
              <a:gd name="connsiteY3" fmla="*/ 0 h 2944176"/>
              <a:gd name="connsiteX0" fmla="*/ 2305378 w 3653761"/>
              <a:gd name="connsiteY0" fmla="*/ 0 h 2971471"/>
              <a:gd name="connsiteX1" fmla="*/ 3653761 w 3653761"/>
              <a:gd name="connsiteY1" fmla="*/ 1708950 h 2971471"/>
              <a:gd name="connsiteX2" fmla="*/ 0 w 3653761"/>
              <a:gd name="connsiteY2" fmla="*/ 2971471 h 2971471"/>
              <a:gd name="connsiteX3" fmla="*/ 2305378 w 3653761"/>
              <a:gd name="connsiteY3" fmla="*/ 0 h 2971471"/>
              <a:gd name="connsiteX0" fmla="*/ 2305378 w 3694704"/>
              <a:gd name="connsiteY0" fmla="*/ 0 h 2971471"/>
              <a:gd name="connsiteX1" fmla="*/ 3694704 w 3694704"/>
              <a:gd name="connsiteY1" fmla="*/ 1722598 h 2971471"/>
              <a:gd name="connsiteX2" fmla="*/ 0 w 3694704"/>
              <a:gd name="connsiteY2" fmla="*/ 2971471 h 2971471"/>
              <a:gd name="connsiteX3" fmla="*/ 2305378 w 3694704"/>
              <a:gd name="connsiteY3" fmla="*/ 0 h 2971471"/>
              <a:gd name="connsiteX0" fmla="*/ 2319025 w 3708351"/>
              <a:gd name="connsiteY0" fmla="*/ 0 h 2971471"/>
              <a:gd name="connsiteX1" fmla="*/ 3708351 w 3708351"/>
              <a:gd name="connsiteY1" fmla="*/ 1722598 h 2971471"/>
              <a:gd name="connsiteX2" fmla="*/ 0 w 3708351"/>
              <a:gd name="connsiteY2" fmla="*/ 2971471 h 2971471"/>
              <a:gd name="connsiteX3" fmla="*/ 2319025 w 3708351"/>
              <a:gd name="connsiteY3" fmla="*/ 0 h 2971471"/>
            </a:gdLst>
            <a:ahLst/>
            <a:cxnLst>
              <a:cxn ang="0">
                <a:pos x="connsiteX0" y="connsiteY0"/>
              </a:cxn>
              <a:cxn ang="0">
                <a:pos x="connsiteX1" y="connsiteY1"/>
              </a:cxn>
              <a:cxn ang="0">
                <a:pos x="connsiteX2" y="connsiteY2"/>
              </a:cxn>
              <a:cxn ang="0">
                <a:pos x="connsiteX3" y="connsiteY3"/>
              </a:cxn>
            </a:cxnLst>
            <a:rect l="l" t="t" r="r" b="b"/>
            <a:pathLst>
              <a:path w="3708351" h="2971471">
                <a:moveTo>
                  <a:pt x="2319025" y="0"/>
                </a:moveTo>
                <a:lnTo>
                  <a:pt x="3708351" y="1722598"/>
                </a:lnTo>
                <a:lnTo>
                  <a:pt x="0" y="2971471"/>
                </a:lnTo>
                <a:lnTo>
                  <a:pt x="2319025" y="0"/>
                </a:lnTo>
                <a:close/>
              </a:path>
            </a:pathLst>
          </a:custGeom>
          <a:gradFill>
            <a:gsLst>
              <a:gs pos="0">
                <a:schemeClr val="accent1"/>
              </a:gs>
              <a:gs pos="85000">
                <a:schemeClr val="accent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0" name="Freeform 9"/>
          <p:cNvSpPr/>
          <p:nvPr userDrawn="1"/>
        </p:nvSpPr>
        <p:spPr>
          <a:xfrm>
            <a:off x="-3085" y="-4317"/>
            <a:ext cx="3366670" cy="1808791"/>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346198"/>
              <a:gd name="connsiteY0" fmla="*/ 0 h 1771137"/>
              <a:gd name="connsiteX1" fmla="*/ 3346198 w 3346198"/>
              <a:gd name="connsiteY1" fmla="*/ 3282 h 1771137"/>
              <a:gd name="connsiteX2" fmla="*/ 3153403 w 3346198"/>
              <a:gd name="connsiteY2" fmla="*/ 1771137 h 1771137"/>
              <a:gd name="connsiteX3" fmla="*/ 0 w 3346198"/>
              <a:gd name="connsiteY3" fmla="*/ 0 h 1771137"/>
              <a:gd name="connsiteX0" fmla="*/ 0 w 3346198"/>
              <a:gd name="connsiteY0" fmla="*/ 0 h 1766374"/>
              <a:gd name="connsiteX1" fmla="*/ 3346198 w 3346198"/>
              <a:gd name="connsiteY1" fmla="*/ 3282 h 1766374"/>
              <a:gd name="connsiteX2" fmla="*/ 3110540 w 3346198"/>
              <a:gd name="connsiteY2" fmla="*/ 1766374 h 1766374"/>
              <a:gd name="connsiteX3" fmla="*/ 0 w 3346198"/>
              <a:gd name="connsiteY3" fmla="*/ 0 h 1766374"/>
              <a:gd name="connsiteX0" fmla="*/ 0 w 3346198"/>
              <a:gd name="connsiteY0" fmla="*/ 0 h 1780662"/>
              <a:gd name="connsiteX1" fmla="*/ 3346198 w 3346198"/>
              <a:gd name="connsiteY1" fmla="*/ 3282 h 1780662"/>
              <a:gd name="connsiteX2" fmla="*/ 3091490 w 3346198"/>
              <a:gd name="connsiteY2" fmla="*/ 1780662 h 1780662"/>
              <a:gd name="connsiteX3" fmla="*/ 0 w 3346198"/>
              <a:gd name="connsiteY3" fmla="*/ 0 h 1780662"/>
              <a:gd name="connsiteX0" fmla="*/ 0 w 3346198"/>
              <a:gd name="connsiteY0" fmla="*/ 0 h 1804474"/>
              <a:gd name="connsiteX1" fmla="*/ 3346198 w 3346198"/>
              <a:gd name="connsiteY1" fmla="*/ 3282 h 1804474"/>
              <a:gd name="connsiteX2" fmla="*/ 3115303 w 3346198"/>
              <a:gd name="connsiteY2" fmla="*/ 1804474 h 1804474"/>
              <a:gd name="connsiteX3" fmla="*/ 0 w 3346198"/>
              <a:gd name="connsiteY3" fmla="*/ 0 h 1804474"/>
              <a:gd name="connsiteX0" fmla="*/ 0 w 3346198"/>
              <a:gd name="connsiteY0" fmla="*/ 10366 h 1801192"/>
              <a:gd name="connsiteX1" fmla="*/ 3346198 w 3346198"/>
              <a:gd name="connsiteY1" fmla="*/ 0 h 1801192"/>
              <a:gd name="connsiteX2" fmla="*/ 3115303 w 3346198"/>
              <a:gd name="connsiteY2" fmla="*/ 1801192 h 1801192"/>
              <a:gd name="connsiteX3" fmla="*/ 0 w 3346198"/>
              <a:gd name="connsiteY3" fmla="*/ 10366 h 1801192"/>
              <a:gd name="connsiteX0" fmla="*/ 0 w 3366670"/>
              <a:gd name="connsiteY0" fmla="*/ 0 h 1818122"/>
              <a:gd name="connsiteX1" fmla="*/ 3366670 w 3366670"/>
              <a:gd name="connsiteY1" fmla="*/ 16930 h 1818122"/>
              <a:gd name="connsiteX2" fmla="*/ 3135775 w 3366670"/>
              <a:gd name="connsiteY2" fmla="*/ 1818122 h 1818122"/>
              <a:gd name="connsiteX3" fmla="*/ 0 w 3366670"/>
              <a:gd name="connsiteY3" fmla="*/ 0 h 1818122"/>
              <a:gd name="connsiteX0" fmla="*/ 0 w 3363258"/>
              <a:gd name="connsiteY0" fmla="*/ 0 h 1811298"/>
              <a:gd name="connsiteX1" fmla="*/ 3363258 w 3363258"/>
              <a:gd name="connsiteY1" fmla="*/ 10106 h 1811298"/>
              <a:gd name="connsiteX2" fmla="*/ 3132363 w 3363258"/>
              <a:gd name="connsiteY2" fmla="*/ 1811298 h 1811298"/>
              <a:gd name="connsiteX3" fmla="*/ 0 w 3363258"/>
              <a:gd name="connsiteY3" fmla="*/ 0 h 1811298"/>
              <a:gd name="connsiteX0" fmla="*/ 0 w 3363258"/>
              <a:gd name="connsiteY0" fmla="*/ 0 h 1807886"/>
              <a:gd name="connsiteX1" fmla="*/ 3363258 w 3363258"/>
              <a:gd name="connsiteY1" fmla="*/ 6694 h 1807886"/>
              <a:gd name="connsiteX2" fmla="*/ 3132363 w 3363258"/>
              <a:gd name="connsiteY2" fmla="*/ 1807886 h 1807886"/>
              <a:gd name="connsiteX3" fmla="*/ 0 w 3363258"/>
              <a:gd name="connsiteY3" fmla="*/ 0 h 1807886"/>
              <a:gd name="connsiteX0" fmla="*/ 0 w 3363258"/>
              <a:gd name="connsiteY0" fmla="*/ 3542 h 1801192"/>
              <a:gd name="connsiteX1" fmla="*/ 3363258 w 3363258"/>
              <a:gd name="connsiteY1" fmla="*/ 0 h 1801192"/>
              <a:gd name="connsiteX2" fmla="*/ 3132363 w 3363258"/>
              <a:gd name="connsiteY2" fmla="*/ 1801192 h 1801192"/>
              <a:gd name="connsiteX3" fmla="*/ 0 w 3363258"/>
              <a:gd name="connsiteY3" fmla="*/ 3542 h 1801192"/>
              <a:gd name="connsiteX0" fmla="*/ 0 w 3366670"/>
              <a:gd name="connsiteY0" fmla="*/ 0 h 1804474"/>
              <a:gd name="connsiteX1" fmla="*/ 3366670 w 3366670"/>
              <a:gd name="connsiteY1" fmla="*/ 3282 h 1804474"/>
              <a:gd name="connsiteX2" fmla="*/ 3135775 w 3366670"/>
              <a:gd name="connsiteY2" fmla="*/ 1804474 h 1804474"/>
              <a:gd name="connsiteX3" fmla="*/ 0 w 3366670"/>
              <a:gd name="connsiteY3" fmla="*/ 0 h 1804474"/>
            </a:gdLst>
            <a:ahLst/>
            <a:cxnLst>
              <a:cxn ang="0">
                <a:pos x="connsiteX0" y="connsiteY0"/>
              </a:cxn>
              <a:cxn ang="0">
                <a:pos x="connsiteX1" y="connsiteY1"/>
              </a:cxn>
              <a:cxn ang="0">
                <a:pos x="connsiteX2" y="connsiteY2"/>
              </a:cxn>
              <a:cxn ang="0">
                <a:pos x="connsiteX3" y="connsiteY3"/>
              </a:cxn>
            </a:cxnLst>
            <a:rect l="l" t="t" r="r" b="b"/>
            <a:pathLst>
              <a:path w="3366670" h="1804474">
                <a:moveTo>
                  <a:pt x="0" y="0"/>
                </a:moveTo>
                <a:lnTo>
                  <a:pt x="3366670" y="3282"/>
                </a:lnTo>
                <a:lnTo>
                  <a:pt x="3135775" y="1804474"/>
                </a:lnTo>
                <a:lnTo>
                  <a:pt x="0" y="0"/>
                </a:lnTo>
                <a:close/>
              </a:path>
            </a:pathLst>
          </a:custGeom>
          <a:gradFill>
            <a:gsLst>
              <a:gs pos="100000">
                <a:schemeClr val="accent2"/>
              </a:gs>
              <a:gs pos="4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1" name="Freeform 10"/>
          <p:cNvSpPr/>
          <p:nvPr userDrawn="1"/>
        </p:nvSpPr>
        <p:spPr>
          <a:xfrm>
            <a:off x="3111696" y="1778988"/>
            <a:ext cx="3269644" cy="3085357"/>
          </a:xfrm>
          <a:custGeom>
            <a:avLst/>
            <a:gdLst>
              <a:gd name="connsiteX0" fmla="*/ 0 w 3237186"/>
              <a:gd name="connsiteY0" fmla="*/ 0 h 3095296"/>
              <a:gd name="connsiteX1" fmla="*/ 441434 w 3237186"/>
              <a:gd name="connsiteY1" fmla="*/ 3095296 h 3095296"/>
              <a:gd name="connsiteX2" fmla="*/ 3237186 w 3237186"/>
              <a:gd name="connsiteY2" fmla="*/ 1255986 h 3095296"/>
              <a:gd name="connsiteX3" fmla="*/ 0 w 3237186"/>
              <a:gd name="connsiteY3" fmla="*/ 0 h 3095296"/>
              <a:gd name="connsiteX0" fmla="*/ 0 w 3237186"/>
              <a:gd name="connsiteY0" fmla="*/ 0 h 3109584"/>
              <a:gd name="connsiteX1" fmla="*/ 441434 w 3237186"/>
              <a:gd name="connsiteY1" fmla="*/ 3109584 h 3109584"/>
              <a:gd name="connsiteX2" fmla="*/ 3237186 w 3237186"/>
              <a:gd name="connsiteY2" fmla="*/ 1270274 h 3109584"/>
              <a:gd name="connsiteX3" fmla="*/ 0 w 3237186"/>
              <a:gd name="connsiteY3" fmla="*/ 0 h 3109584"/>
              <a:gd name="connsiteX0" fmla="*/ 0 w 3237186"/>
              <a:gd name="connsiteY0" fmla="*/ 0 h 3085764"/>
              <a:gd name="connsiteX1" fmla="*/ 441434 w 3237186"/>
              <a:gd name="connsiteY1" fmla="*/ 3085764 h 3085764"/>
              <a:gd name="connsiteX2" fmla="*/ 3237186 w 3237186"/>
              <a:gd name="connsiteY2" fmla="*/ 1246454 h 3085764"/>
              <a:gd name="connsiteX3" fmla="*/ 0 w 3237186"/>
              <a:gd name="connsiteY3" fmla="*/ 0 h 3085764"/>
              <a:gd name="connsiteX0" fmla="*/ 0 w 3255520"/>
              <a:gd name="connsiteY0" fmla="*/ 0 h 3085764"/>
              <a:gd name="connsiteX1" fmla="*/ 441434 w 3255520"/>
              <a:gd name="connsiteY1" fmla="*/ 3085764 h 3085764"/>
              <a:gd name="connsiteX2" fmla="*/ 3255520 w 3255520"/>
              <a:gd name="connsiteY2" fmla="*/ 1239108 h 3085764"/>
              <a:gd name="connsiteX3" fmla="*/ 0 w 3255520"/>
              <a:gd name="connsiteY3" fmla="*/ 0 h 3085764"/>
              <a:gd name="connsiteX0" fmla="*/ 0 w 3255520"/>
              <a:gd name="connsiteY0" fmla="*/ 0 h 3088940"/>
              <a:gd name="connsiteX1" fmla="*/ 460457 w 3255520"/>
              <a:gd name="connsiteY1" fmla="*/ 3088940 h 3088940"/>
              <a:gd name="connsiteX2" fmla="*/ 3255520 w 3255520"/>
              <a:gd name="connsiteY2" fmla="*/ 1239108 h 3088940"/>
              <a:gd name="connsiteX3" fmla="*/ 0 w 3255520"/>
              <a:gd name="connsiteY3" fmla="*/ 0 h 3088940"/>
              <a:gd name="connsiteX0" fmla="*/ 0 w 3262334"/>
              <a:gd name="connsiteY0" fmla="*/ 0 h 3088940"/>
              <a:gd name="connsiteX1" fmla="*/ 460457 w 3262334"/>
              <a:gd name="connsiteY1" fmla="*/ 3088940 h 3088940"/>
              <a:gd name="connsiteX2" fmla="*/ 3262334 w 3262334"/>
              <a:gd name="connsiteY2" fmla="*/ 1239108 h 3088940"/>
              <a:gd name="connsiteX3" fmla="*/ 0 w 3262334"/>
              <a:gd name="connsiteY3" fmla="*/ 0 h 3088940"/>
              <a:gd name="connsiteX0" fmla="*/ 0 w 3264905"/>
              <a:gd name="connsiteY0" fmla="*/ 0 h 3086363"/>
              <a:gd name="connsiteX1" fmla="*/ 463028 w 3264905"/>
              <a:gd name="connsiteY1" fmla="*/ 3086363 h 3086363"/>
              <a:gd name="connsiteX2" fmla="*/ 3264905 w 3264905"/>
              <a:gd name="connsiteY2" fmla="*/ 1236531 h 3086363"/>
              <a:gd name="connsiteX3" fmla="*/ 0 w 3264905"/>
              <a:gd name="connsiteY3" fmla="*/ 0 h 3086363"/>
            </a:gdLst>
            <a:ahLst/>
            <a:cxnLst>
              <a:cxn ang="0">
                <a:pos x="connsiteX0" y="connsiteY0"/>
              </a:cxn>
              <a:cxn ang="0">
                <a:pos x="connsiteX1" y="connsiteY1"/>
              </a:cxn>
              <a:cxn ang="0">
                <a:pos x="connsiteX2" y="connsiteY2"/>
              </a:cxn>
              <a:cxn ang="0">
                <a:pos x="connsiteX3" y="connsiteY3"/>
              </a:cxn>
            </a:cxnLst>
            <a:rect l="l" t="t" r="r" b="b"/>
            <a:pathLst>
              <a:path w="3264905" h="3086363">
                <a:moveTo>
                  <a:pt x="0" y="0"/>
                </a:moveTo>
                <a:lnTo>
                  <a:pt x="463028" y="3086363"/>
                </a:lnTo>
                <a:lnTo>
                  <a:pt x="3264905" y="1236531"/>
                </a:lnTo>
                <a:lnTo>
                  <a:pt x="0" y="0"/>
                </a:lnTo>
                <a:close/>
              </a:path>
            </a:pathLst>
          </a:custGeom>
          <a:gradFill>
            <a:gsLst>
              <a:gs pos="15000">
                <a:schemeClr val="accent2"/>
              </a:gs>
              <a:gs pos="100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2" name="Freeform 11"/>
          <p:cNvSpPr/>
          <p:nvPr userDrawn="1"/>
        </p:nvSpPr>
        <p:spPr>
          <a:xfrm>
            <a:off x="7713406" y="2411362"/>
            <a:ext cx="1983659" cy="4457360"/>
          </a:xfrm>
          <a:custGeom>
            <a:avLst/>
            <a:gdLst>
              <a:gd name="connsiteX0" fmla="*/ 1983659 w 1983659"/>
              <a:gd name="connsiteY0" fmla="*/ 0 h 4431891"/>
              <a:gd name="connsiteX1" fmla="*/ 1032388 w 1983659"/>
              <a:gd name="connsiteY1" fmla="*/ 4431891 h 4431891"/>
              <a:gd name="connsiteX2" fmla="*/ 0 w 1983659"/>
              <a:gd name="connsiteY2" fmla="*/ 2286000 h 4431891"/>
              <a:gd name="connsiteX3" fmla="*/ 1983659 w 1983659"/>
              <a:gd name="connsiteY3" fmla="*/ 0 h 4431891"/>
              <a:gd name="connsiteX0" fmla="*/ 1983659 w 1983659"/>
              <a:gd name="connsiteY0" fmla="*/ 0 h 4439842"/>
              <a:gd name="connsiteX1" fmla="*/ 1000583 w 1983659"/>
              <a:gd name="connsiteY1" fmla="*/ 4439842 h 4439842"/>
              <a:gd name="connsiteX2" fmla="*/ 0 w 1983659"/>
              <a:gd name="connsiteY2" fmla="*/ 2286000 h 4439842"/>
              <a:gd name="connsiteX3" fmla="*/ 1983659 w 1983659"/>
              <a:gd name="connsiteY3" fmla="*/ 0 h 4439842"/>
              <a:gd name="connsiteX0" fmla="*/ 1983659 w 1983659"/>
              <a:gd name="connsiteY0" fmla="*/ 0 h 4447794"/>
              <a:gd name="connsiteX1" fmla="*/ 1000583 w 1983659"/>
              <a:gd name="connsiteY1" fmla="*/ 4447794 h 4447794"/>
              <a:gd name="connsiteX2" fmla="*/ 0 w 1983659"/>
              <a:gd name="connsiteY2" fmla="*/ 2286000 h 4447794"/>
              <a:gd name="connsiteX3" fmla="*/ 1983659 w 1983659"/>
              <a:gd name="connsiteY3" fmla="*/ 0 h 4447794"/>
              <a:gd name="connsiteX0" fmla="*/ 1983659 w 1983659"/>
              <a:gd name="connsiteY0" fmla="*/ 0 h 4471648"/>
              <a:gd name="connsiteX1" fmla="*/ 1000583 w 1983659"/>
              <a:gd name="connsiteY1" fmla="*/ 4471648 h 4471648"/>
              <a:gd name="connsiteX2" fmla="*/ 0 w 1983659"/>
              <a:gd name="connsiteY2" fmla="*/ 2286000 h 4471648"/>
              <a:gd name="connsiteX3" fmla="*/ 1983659 w 1983659"/>
              <a:gd name="connsiteY3" fmla="*/ 0 h 4471648"/>
              <a:gd name="connsiteX0" fmla="*/ 1983659 w 1983659"/>
              <a:gd name="connsiteY0" fmla="*/ 0 h 4457360"/>
              <a:gd name="connsiteX1" fmla="*/ 995820 w 1983659"/>
              <a:gd name="connsiteY1" fmla="*/ 4457360 h 4457360"/>
              <a:gd name="connsiteX2" fmla="*/ 0 w 1983659"/>
              <a:gd name="connsiteY2" fmla="*/ 2286000 h 4457360"/>
              <a:gd name="connsiteX3" fmla="*/ 1983659 w 1983659"/>
              <a:gd name="connsiteY3" fmla="*/ 0 h 4457360"/>
              <a:gd name="connsiteX0" fmla="*/ 1983659 w 1983659"/>
              <a:gd name="connsiteY0" fmla="*/ 0 h 4457360"/>
              <a:gd name="connsiteX1" fmla="*/ 991058 w 1983659"/>
              <a:gd name="connsiteY1" fmla="*/ 4457360 h 4457360"/>
              <a:gd name="connsiteX2" fmla="*/ 0 w 1983659"/>
              <a:gd name="connsiteY2" fmla="*/ 2286000 h 4457360"/>
              <a:gd name="connsiteX3" fmla="*/ 1983659 w 1983659"/>
              <a:gd name="connsiteY3" fmla="*/ 0 h 4457360"/>
            </a:gdLst>
            <a:ahLst/>
            <a:cxnLst>
              <a:cxn ang="0">
                <a:pos x="connsiteX0" y="connsiteY0"/>
              </a:cxn>
              <a:cxn ang="0">
                <a:pos x="connsiteX1" y="connsiteY1"/>
              </a:cxn>
              <a:cxn ang="0">
                <a:pos x="connsiteX2" y="connsiteY2"/>
              </a:cxn>
              <a:cxn ang="0">
                <a:pos x="connsiteX3" y="connsiteY3"/>
              </a:cxn>
            </a:cxnLst>
            <a:rect l="l" t="t" r="r" b="b"/>
            <a:pathLst>
              <a:path w="1983659" h="4457360">
                <a:moveTo>
                  <a:pt x="1983659" y="0"/>
                </a:moveTo>
                <a:lnTo>
                  <a:pt x="991058" y="4457360"/>
                </a:lnTo>
                <a:lnTo>
                  <a:pt x="0" y="2286000"/>
                </a:lnTo>
                <a:lnTo>
                  <a:pt x="1983659" y="0"/>
                </a:lnTo>
                <a:close/>
              </a:path>
            </a:pathLst>
          </a:custGeom>
          <a:gradFill>
            <a:gsLst>
              <a:gs pos="0">
                <a:schemeClr val="accent1"/>
              </a:gs>
              <a:gs pos="73000">
                <a:schemeClr val="accent2"/>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3" name="Freeform 12"/>
          <p:cNvSpPr/>
          <p:nvPr userDrawn="1"/>
        </p:nvSpPr>
        <p:spPr>
          <a:xfrm>
            <a:off x="6341757" y="1209676"/>
            <a:ext cx="3359456" cy="1822946"/>
          </a:xfrm>
          <a:custGeom>
            <a:avLst/>
            <a:gdLst>
              <a:gd name="connsiteX0" fmla="*/ 1271587 w 3305175"/>
              <a:gd name="connsiteY0" fmla="*/ 0 h 1809750"/>
              <a:gd name="connsiteX1" fmla="*/ 3305175 w 3305175"/>
              <a:gd name="connsiteY1" fmla="*/ 1233487 h 1809750"/>
              <a:gd name="connsiteX2" fmla="*/ 0 w 3305175"/>
              <a:gd name="connsiteY2" fmla="*/ 1809750 h 1809750"/>
              <a:gd name="connsiteX3" fmla="*/ 1271587 w 3305175"/>
              <a:gd name="connsiteY3" fmla="*/ 0 h 1809750"/>
              <a:gd name="connsiteX0" fmla="*/ 1281112 w 3314700"/>
              <a:gd name="connsiteY0" fmla="*/ 0 h 1828800"/>
              <a:gd name="connsiteX1" fmla="*/ 3314700 w 3314700"/>
              <a:gd name="connsiteY1" fmla="*/ 1233487 h 1828800"/>
              <a:gd name="connsiteX2" fmla="*/ 0 w 3314700"/>
              <a:gd name="connsiteY2" fmla="*/ 1828800 h 1828800"/>
              <a:gd name="connsiteX3" fmla="*/ 1281112 w 3314700"/>
              <a:gd name="connsiteY3" fmla="*/ 0 h 1828800"/>
              <a:gd name="connsiteX0" fmla="*/ 1300162 w 3333750"/>
              <a:gd name="connsiteY0" fmla="*/ 0 h 1824037"/>
              <a:gd name="connsiteX1" fmla="*/ 3333750 w 3333750"/>
              <a:gd name="connsiteY1" fmla="*/ 1233487 h 1824037"/>
              <a:gd name="connsiteX2" fmla="*/ 0 w 3333750"/>
              <a:gd name="connsiteY2" fmla="*/ 1824037 h 1824037"/>
              <a:gd name="connsiteX3" fmla="*/ 1300162 w 3333750"/>
              <a:gd name="connsiteY3" fmla="*/ 0 h 1824037"/>
              <a:gd name="connsiteX0" fmla="*/ 1314449 w 3333750"/>
              <a:gd name="connsiteY0" fmla="*/ 0 h 1381124"/>
              <a:gd name="connsiteX1" fmla="*/ 3333750 w 3333750"/>
              <a:gd name="connsiteY1" fmla="*/ 790574 h 1381124"/>
              <a:gd name="connsiteX2" fmla="*/ 0 w 3333750"/>
              <a:gd name="connsiteY2" fmla="*/ 1381124 h 1381124"/>
              <a:gd name="connsiteX3" fmla="*/ 1314449 w 3333750"/>
              <a:gd name="connsiteY3" fmla="*/ 0 h 138112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Lst>
            <a:ahLst/>
            <a:cxnLst>
              <a:cxn ang="0">
                <a:pos x="connsiteX0" y="connsiteY0"/>
              </a:cxn>
              <a:cxn ang="0">
                <a:pos x="connsiteX1" y="connsiteY1"/>
              </a:cxn>
              <a:cxn ang="0">
                <a:pos x="connsiteX2" y="connsiteY2"/>
              </a:cxn>
              <a:cxn ang="0">
                <a:pos x="connsiteX3" y="connsiteY3"/>
              </a:cxn>
            </a:cxnLst>
            <a:rect l="l" t="t" r="r" b="b"/>
            <a:pathLst>
              <a:path w="3359456" h="1822946">
                <a:moveTo>
                  <a:pt x="1325868" y="0"/>
                </a:moveTo>
                <a:lnTo>
                  <a:pt x="3359456" y="1228724"/>
                </a:lnTo>
                <a:lnTo>
                  <a:pt x="0" y="1822946"/>
                </a:lnTo>
                <a:lnTo>
                  <a:pt x="1325868" y="0"/>
                </a:lnTo>
                <a:close/>
              </a:path>
            </a:pathLst>
          </a:custGeom>
          <a:gradFill>
            <a:gsLst>
              <a:gs pos="0">
                <a:schemeClr val="accent1"/>
              </a:gs>
              <a:gs pos="96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4" name="Freeform 13"/>
          <p:cNvSpPr/>
          <p:nvPr userDrawn="1"/>
        </p:nvSpPr>
        <p:spPr>
          <a:xfrm>
            <a:off x="-227" y="-2"/>
            <a:ext cx="1040749" cy="6862615"/>
          </a:xfrm>
          <a:custGeom>
            <a:avLst/>
            <a:gdLst>
              <a:gd name="connsiteX0" fmla="*/ 0 w 1076445"/>
              <a:gd name="connsiteY0" fmla="*/ 0 h 6817489"/>
              <a:gd name="connsiteX1" fmla="*/ 1076445 w 1076445"/>
              <a:gd name="connsiteY1" fmla="*/ 1805651 h 6817489"/>
              <a:gd name="connsiteX2" fmla="*/ 11574 w 1076445"/>
              <a:gd name="connsiteY2" fmla="*/ 6817489 h 6817489"/>
              <a:gd name="connsiteX3" fmla="*/ 0 w 1076445"/>
              <a:gd name="connsiteY3" fmla="*/ 0 h 6817489"/>
              <a:gd name="connsiteX0" fmla="*/ 0 w 873245"/>
              <a:gd name="connsiteY0" fmla="*/ 0 h 6817489"/>
              <a:gd name="connsiteX1" fmla="*/ 873245 w 873245"/>
              <a:gd name="connsiteY1" fmla="*/ 1764376 h 6817489"/>
              <a:gd name="connsiteX2" fmla="*/ 11574 w 873245"/>
              <a:gd name="connsiteY2" fmla="*/ 6817489 h 6817489"/>
              <a:gd name="connsiteX3" fmla="*/ 0 w 873245"/>
              <a:gd name="connsiteY3" fmla="*/ 0 h 6817489"/>
              <a:gd name="connsiteX0" fmla="*/ 0 w 1047870"/>
              <a:gd name="connsiteY0" fmla="*/ 0 h 6817489"/>
              <a:gd name="connsiteX1" fmla="*/ 1047870 w 1047870"/>
              <a:gd name="connsiteY1" fmla="*/ 1770726 h 6817489"/>
              <a:gd name="connsiteX2" fmla="*/ 11574 w 1047870"/>
              <a:gd name="connsiteY2" fmla="*/ 6817489 h 6817489"/>
              <a:gd name="connsiteX3" fmla="*/ 0 w 1047870"/>
              <a:gd name="connsiteY3" fmla="*/ 0 h 6817489"/>
              <a:gd name="connsiteX0" fmla="*/ 0 w 698013"/>
              <a:gd name="connsiteY0" fmla="*/ 0 h 6817489"/>
              <a:gd name="connsiteX1" fmla="*/ 698013 w 698013"/>
              <a:gd name="connsiteY1" fmla="*/ 2181752 h 6817489"/>
              <a:gd name="connsiteX2" fmla="*/ 11574 w 698013"/>
              <a:gd name="connsiteY2" fmla="*/ 6817489 h 6817489"/>
              <a:gd name="connsiteX3" fmla="*/ 0 w 698013"/>
              <a:gd name="connsiteY3" fmla="*/ 0 h 6817489"/>
              <a:gd name="connsiteX0" fmla="*/ 0 w 1039919"/>
              <a:gd name="connsiteY0" fmla="*/ 0 h 6817489"/>
              <a:gd name="connsiteX1" fmla="*/ 1039919 w 1039919"/>
              <a:gd name="connsiteY1" fmla="*/ 1762823 h 6817489"/>
              <a:gd name="connsiteX2" fmla="*/ 11574 w 1039919"/>
              <a:gd name="connsiteY2" fmla="*/ 6817489 h 6817489"/>
              <a:gd name="connsiteX3" fmla="*/ 0 w 1039919"/>
              <a:gd name="connsiteY3" fmla="*/ 0 h 6817489"/>
              <a:gd name="connsiteX0" fmla="*/ 0 w 823788"/>
              <a:gd name="connsiteY0" fmla="*/ 0 h 6817489"/>
              <a:gd name="connsiteX1" fmla="*/ 823788 w 823788"/>
              <a:gd name="connsiteY1" fmla="*/ 1820668 h 6817489"/>
              <a:gd name="connsiteX2" fmla="*/ 11574 w 823788"/>
              <a:gd name="connsiteY2" fmla="*/ 6817489 h 6817489"/>
              <a:gd name="connsiteX3" fmla="*/ 0 w 823788"/>
              <a:gd name="connsiteY3" fmla="*/ 0 h 6817489"/>
              <a:gd name="connsiteX0" fmla="*/ 0 w 1035762"/>
              <a:gd name="connsiteY0" fmla="*/ 0 h 6817489"/>
              <a:gd name="connsiteX1" fmla="*/ 1035762 w 1035762"/>
              <a:gd name="connsiteY1" fmla="*/ 1766955 h 6817489"/>
              <a:gd name="connsiteX2" fmla="*/ 11574 w 1035762"/>
              <a:gd name="connsiteY2" fmla="*/ 6817489 h 6817489"/>
              <a:gd name="connsiteX3" fmla="*/ 0 w 1035762"/>
              <a:gd name="connsiteY3" fmla="*/ 0 h 6817489"/>
              <a:gd name="connsiteX0" fmla="*/ 0 w 1040524"/>
              <a:gd name="connsiteY0" fmla="*/ 0 h 6817489"/>
              <a:gd name="connsiteX1" fmla="*/ 1040524 w 1040524"/>
              <a:gd name="connsiteY1" fmla="*/ 1762221 h 6817489"/>
              <a:gd name="connsiteX2" fmla="*/ 11574 w 1040524"/>
              <a:gd name="connsiteY2" fmla="*/ 6817489 h 6817489"/>
              <a:gd name="connsiteX3" fmla="*/ 0 w 1040524"/>
              <a:gd name="connsiteY3" fmla="*/ 0 h 6817489"/>
              <a:gd name="connsiteX0" fmla="*/ 225 w 1040749"/>
              <a:gd name="connsiteY0" fmla="*/ 0 h 6858541"/>
              <a:gd name="connsiteX1" fmla="*/ 1040749 w 1040749"/>
              <a:gd name="connsiteY1" fmla="*/ 1762221 h 6858541"/>
              <a:gd name="connsiteX2" fmla="*/ 0 w 1040749"/>
              <a:gd name="connsiteY2" fmla="*/ 6858541 h 6858541"/>
              <a:gd name="connsiteX3" fmla="*/ 225 w 1040749"/>
              <a:gd name="connsiteY3" fmla="*/ 0 h 6858541"/>
              <a:gd name="connsiteX0" fmla="*/ 225 w 1040749"/>
              <a:gd name="connsiteY0" fmla="*/ 0 h 6835083"/>
              <a:gd name="connsiteX1" fmla="*/ 1040749 w 1040749"/>
              <a:gd name="connsiteY1" fmla="*/ 1762221 h 6835083"/>
              <a:gd name="connsiteX2" fmla="*/ 0 w 1040749"/>
              <a:gd name="connsiteY2" fmla="*/ 6835083 h 6835083"/>
              <a:gd name="connsiteX3" fmla="*/ 225 w 1040749"/>
              <a:gd name="connsiteY3" fmla="*/ 0 h 6835083"/>
            </a:gdLst>
            <a:ahLst/>
            <a:cxnLst>
              <a:cxn ang="0">
                <a:pos x="connsiteX0" y="connsiteY0"/>
              </a:cxn>
              <a:cxn ang="0">
                <a:pos x="connsiteX1" y="connsiteY1"/>
              </a:cxn>
              <a:cxn ang="0">
                <a:pos x="connsiteX2" y="connsiteY2"/>
              </a:cxn>
              <a:cxn ang="0">
                <a:pos x="connsiteX3" y="connsiteY3"/>
              </a:cxn>
            </a:cxnLst>
            <a:rect l="l" t="t" r="r" b="b"/>
            <a:pathLst>
              <a:path w="1040749" h="6835083">
                <a:moveTo>
                  <a:pt x="225" y="0"/>
                </a:moveTo>
                <a:lnTo>
                  <a:pt x="1040749" y="1762221"/>
                </a:lnTo>
                <a:lnTo>
                  <a:pt x="0" y="6835083"/>
                </a:lnTo>
                <a:lnTo>
                  <a:pt x="225" y="0"/>
                </a:lnTo>
                <a:close/>
              </a:path>
            </a:pathLst>
          </a:custGeom>
          <a:gradFill>
            <a:gsLst>
              <a:gs pos="19000">
                <a:schemeClr val="accent2"/>
              </a:gs>
              <a:gs pos="94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5" name="Freeform 14"/>
          <p:cNvSpPr/>
          <p:nvPr userDrawn="1"/>
        </p:nvSpPr>
        <p:spPr>
          <a:xfrm>
            <a:off x="3119436" y="-1"/>
            <a:ext cx="3260163" cy="3022037"/>
          </a:xfrm>
          <a:custGeom>
            <a:avLst/>
            <a:gdLst>
              <a:gd name="connsiteX0" fmla="*/ 185737 w 3228975"/>
              <a:gd name="connsiteY0" fmla="*/ 0 h 3024188"/>
              <a:gd name="connsiteX1" fmla="*/ 0 w 3228975"/>
              <a:gd name="connsiteY1" fmla="*/ 1771650 h 3024188"/>
              <a:gd name="connsiteX2" fmla="*/ 3228975 w 3228975"/>
              <a:gd name="connsiteY2" fmla="*/ 3024188 h 3024188"/>
              <a:gd name="connsiteX3" fmla="*/ 185737 w 3228975"/>
              <a:gd name="connsiteY3"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1976437 w 3228975"/>
              <a:gd name="connsiteY3" fmla="*/ 1776413 h 3024188"/>
              <a:gd name="connsiteX4" fmla="*/ 185737 w 3228975"/>
              <a:gd name="connsiteY4"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2733674 w 3228975"/>
              <a:gd name="connsiteY3" fmla="*/ 1281113 h 3024188"/>
              <a:gd name="connsiteX4" fmla="*/ 185737 w 3228975"/>
              <a:gd name="connsiteY4" fmla="*/ 0 h 3024188"/>
              <a:gd name="connsiteX0" fmla="*/ 185737 w 3181350"/>
              <a:gd name="connsiteY0" fmla="*/ 0 h 2481263"/>
              <a:gd name="connsiteX1" fmla="*/ 0 w 3181350"/>
              <a:gd name="connsiteY1" fmla="*/ 1771650 h 2481263"/>
              <a:gd name="connsiteX2" fmla="*/ 3181350 w 3181350"/>
              <a:gd name="connsiteY2" fmla="*/ 2481263 h 2481263"/>
              <a:gd name="connsiteX3" fmla="*/ 2733674 w 3181350"/>
              <a:gd name="connsiteY3" fmla="*/ 1281113 h 2481263"/>
              <a:gd name="connsiteX4" fmla="*/ 185737 w 3181350"/>
              <a:gd name="connsiteY4" fmla="*/ 0 h 24812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1113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5876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185737 w 3214688"/>
              <a:gd name="connsiteY3" fmla="*/ 0 h 3014663"/>
              <a:gd name="connsiteX0" fmla="*/ 190500 w 3219451"/>
              <a:gd name="connsiteY0" fmla="*/ 0 h 3014663"/>
              <a:gd name="connsiteX1" fmla="*/ 0 w 3219451"/>
              <a:gd name="connsiteY1" fmla="*/ 1781175 h 3014663"/>
              <a:gd name="connsiteX2" fmla="*/ 3219451 w 3219451"/>
              <a:gd name="connsiteY2" fmla="*/ 3014663 h 3014663"/>
              <a:gd name="connsiteX3" fmla="*/ 190500 w 3219451"/>
              <a:gd name="connsiteY3" fmla="*/ 0 h 3014663"/>
              <a:gd name="connsiteX0" fmla="*/ 190500 w 3219451"/>
              <a:gd name="connsiteY0" fmla="*/ 0 h 3014663"/>
              <a:gd name="connsiteX1" fmla="*/ 0 w 3219451"/>
              <a:gd name="connsiteY1" fmla="*/ 1766887 h 3014663"/>
              <a:gd name="connsiteX2" fmla="*/ 3219451 w 3219451"/>
              <a:gd name="connsiteY2" fmla="*/ 3014663 h 3014663"/>
              <a:gd name="connsiteX3" fmla="*/ 190500 w 3219451"/>
              <a:gd name="connsiteY3" fmla="*/ 0 h 3014663"/>
              <a:gd name="connsiteX0" fmla="*/ 223838 w 3252789"/>
              <a:gd name="connsiteY0" fmla="*/ 0 h 3014663"/>
              <a:gd name="connsiteX1" fmla="*/ 0 w 3252789"/>
              <a:gd name="connsiteY1" fmla="*/ 1771650 h 3014663"/>
              <a:gd name="connsiteX2" fmla="*/ 3252789 w 3252789"/>
              <a:gd name="connsiteY2" fmla="*/ 3014663 h 3014663"/>
              <a:gd name="connsiteX3" fmla="*/ 223838 w 3252789"/>
              <a:gd name="connsiteY3" fmla="*/ 0 h 3014663"/>
              <a:gd name="connsiteX0" fmla="*/ 223838 w 3252789"/>
              <a:gd name="connsiteY0" fmla="*/ 0 h 3014663"/>
              <a:gd name="connsiteX1" fmla="*/ 0 w 3252789"/>
              <a:gd name="connsiteY1" fmla="*/ 1790700 h 3014663"/>
              <a:gd name="connsiteX2" fmla="*/ 3252789 w 3252789"/>
              <a:gd name="connsiteY2" fmla="*/ 3014663 h 3014663"/>
              <a:gd name="connsiteX3" fmla="*/ 223838 w 3252789"/>
              <a:gd name="connsiteY3" fmla="*/ 0 h 3014663"/>
              <a:gd name="connsiteX0" fmla="*/ 223838 w 3252789"/>
              <a:gd name="connsiteY0" fmla="*/ 0 h 3022037"/>
              <a:gd name="connsiteX1" fmla="*/ 0 w 3252789"/>
              <a:gd name="connsiteY1" fmla="*/ 1790700 h 3022037"/>
              <a:gd name="connsiteX2" fmla="*/ 3252789 w 3252789"/>
              <a:gd name="connsiteY2" fmla="*/ 3022037 h 3022037"/>
              <a:gd name="connsiteX3" fmla="*/ 223838 w 3252789"/>
              <a:gd name="connsiteY3" fmla="*/ 0 h 3022037"/>
              <a:gd name="connsiteX0" fmla="*/ 223838 w 3260163"/>
              <a:gd name="connsiteY0" fmla="*/ 0 h 3014663"/>
              <a:gd name="connsiteX1" fmla="*/ 0 w 3260163"/>
              <a:gd name="connsiteY1" fmla="*/ 1790700 h 3014663"/>
              <a:gd name="connsiteX2" fmla="*/ 3260163 w 3260163"/>
              <a:gd name="connsiteY2" fmla="*/ 3014663 h 3014663"/>
              <a:gd name="connsiteX3" fmla="*/ 223838 w 3260163"/>
              <a:gd name="connsiteY3" fmla="*/ 0 h 3014663"/>
              <a:gd name="connsiteX0" fmla="*/ 223838 w 3260163"/>
              <a:gd name="connsiteY0" fmla="*/ 0 h 3022037"/>
              <a:gd name="connsiteX1" fmla="*/ 0 w 3260163"/>
              <a:gd name="connsiteY1" fmla="*/ 1790700 h 3022037"/>
              <a:gd name="connsiteX2" fmla="*/ 3260163 w 3260163"/>
              <a:gd name="connsiteY2" fmla="*/ 3022037 h 3022037"/>
              <a:gd name="connsiteX3" fmla="*/ 223838 w 3260163"/>
              <a:gd name="connsiteY3" fmla="*/ 0 h 3022037"/>
            </a:gdLst>
            <a:ahLst/>
            <a:cxnLst>
              <a:cxn ang="0">
                <a:pos x="connsiteX0" y="connsiteY0"/>
              </a:cxn>
              <a:cxn ang="0">
                <a:pos x="connsiteX1" y="connsiteY1"/>
              </a:cxn>
              <a:cxn ang="0">
                <a:pos x="connsiteX2" y="connsiteY2"/>
              </a:cxn>
              <a:cxn ang="0">
                <a:pos x="connsiteX3" y="connsiteY3"/>
              </a:cxn>
            </a:cxnLst>
            <a:rect l="l" t="t" r="r" b="b"/>
            <a:pathLst>
              <a:path w="3260163" h="3022037">
                <a:moveTo>
                  <a:pt x="223838" y="0"/>
                </a:moveTo>
                <a:lnTo>
                  <a:pt x="0" y="1790700"/>
                </a:lnTo>
                <a:lnTo>
                  <a:pt x="3260163" y="3022037"/>
                </a:lnTo>
                <a:lnTo>
                  <a:pt x="223838" y="0"/>
                </a:lnTo>
                <a:close/>
              </a:path>
            </a:pathLst>
          </a:custGeom>
          <a:gradFill>
            <a:gsLst>
              <a:gs pos="58000">
                <a:schemeClr val="accent2"/>
              </a:gs>
              <a:gs pos="0">
                <a:schemeClr val="accent1"/>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6" name="Freeform 15"/>
          <p:cNvSpPr/>
          <p:nvPr userDrawn="1"/>
        </p:nvSpPr>
        <p:spPr>
          <a:xfrm>
            <a:off x="3343275" y="0"/>
            <a:ext cx="4337998" cy="3019426"/>
          </a:xfrm>
          <a:custGeom>
            <a:avLst/>
            <a:gdLst>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37998"/>
              <a:gd name="connsiteY0" fmla="*/ 0 h 3019426"/>
              <a:gd name="connsiteX1" fmla="*/ 4337998 w 4337998"/>
              <a:gd name="connsiteY1" fmla="*/ 1214438 h 3019426"/>
              <a:gd name="connsiteX2" fmla="*/ 3028950 w 4337998"/>
              <a:gd name="connsiteY2" fmla="*/ 3019426 h 3019426"/>
              <a:gd name="connsiteX3" fmla="*/ 0 w 4337998"/>
              <a:gd name="connsiteY3" fmla="*/ 0 h 3019426"/>
              <a:gd name="connsiteX0" fmla="*/ 0 w 4337998"/>
              <a:gd name="connsiteY0" fmla="*/ 0 h 3019426"/>
              <a:gd name="connsiteX1" fmla="*/ 4337998 w 4337998"/>
              <a:gd name="connsiteY1" fmla="*/ 1214438 h 3019426"/>
              <a:gd name="connsiteX2" fmla="*/ 3015303 w 4337998"/>
              <a:gd name="connsiteY2" fmla="*/ 3019426 h 3019426"/>
              <a:gd name="connsiteX3" fmla="*/ 0 w 4337998"/>
              <a:gd name="connsiteY3" fmla="*/ 0 h 3019426"/>
            </a:gdLst>
            <a:ahLst/>
            <a:cxnLst>
              <a:cxn ang="0">
                <a:pos x="connsiteX0" y="connsiteY0"/>
              </a:cxn>
              <a:cxn ang="0">
                <a:pos x="connsiteX1" y="connsiteY1"/>
              </a:cxn>
              <a:cxn ang="0">
                <a:pos x="connsiteX2" y="connsiteY2"/>
              </a:cxn>
              <a:cxn ang="0">
                <a:pos x="connsiteX3" y="connsiteY3"/>
              </a:cxn>
            </a:cxnLst>
            <a:rect l="l" t="t" r="r" b="b"/>
            <a:pathLst>
              <a:path w="4337998" h="3019426">
                <a:moveTo>
                  <a:pt x="0" y="0"/>
                </a:moveTo>
                <a:lnTo>
                  <a:pt x="4337998" y="1214438"/>
                </a:lnTo>
                <a:lnTo>
                  <a:pt x="3015303" y="3019426"/>
                </a:lnTo>
                <a:lnTo>
                  <a:pt x="0" y="0"/>
                </a:lnTo>
                <a:close/>
              </a:path>
            </a:pathLst>
          </a:custGeom>
          <a:gradFill>
            <a:gsLst>
              <a:gs pos="10000">
                <a:schemeClr val="accent2"/>
              </a:gs>
              <a:gs pos="100000">
                <a:schemeClr val="accent1"/>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r>
              <a:rPr lang="en-US" sz="2000" dirty="0">
                <a:solidFill>
                  <a:srgbClr val="FFFFFF"/>
                </a:solidFill>
              </a:rPr>
              <a:t>s</a:t>
            </a:r>
          </a:p>
        </p:txBody>
      </p:sp>
      <p:sp>
        <p:nvSpPr>
          <p:cNvPr id="17" name="Freeform 16"/>
          <p:cNvSpPr/>
          <p:nvPr userDrawn="1"/>
        </p:nvSpPr>
        <p:spPr>
          <a:xfrm>
            <a:off x="7667625" y="1"/>
            <a:ext cx="4524375" cy="1214438"/>
          </a:xfrm>
          <a:custGeom>
            <a:avLst/>
            <a:gdLst>
              <a:gd name="connsiteX0" fmla="*/ 3367088 w 4524375"/>
              <a:gd name="connsiteY0" fmla="*/ 0 h 1223963"/>
              <a:gd name="connsiteX1" fmla="*/ 0 w 4524375"/>
              <a:gd name="connsiteY1" fmla="*/ 1223963 h 1223963"/>
              <a:gd name="connsiteX2" fmla="*/ 4524375 w 4524375"/>
              <a:gd name="connsiteY2" fmla="*/ 1071563 h 1223963"/>
              <a:gd name="connsiteX3" fmla="*/ 3367088 w 4524375"/>
              <a:gd name="connsiteY3" fmla="*/ 0 h 1223963"/>
              <a:gd name="connsiteX0" fmla="*/ 3352800 w 4524375"/>
              <a:gd name="connsiteY0" fmla="*/ 0 h 1233489"/>
              <a:gd name="connsiteX1" fmla="*/ 0 w 4524375"/>
              <a:gd name="connsiteY1" fmla="*/ 1233489 h 1233489"/>
              <a:gd name="connsiteX2" fmla="*/ 4524375 w 4524375"/>
              <a:gd name="connsiteY2" fmla="*/ 1081089 h 1233489"/>
              <a:gd name="connsiteX3" fmla="*/ 3352800 w 4524375"/>
              <a:gd name="connsiteY3" fmla="*/ 0 h 1233489"/>
              <a:gd name="connsiteX0" fmla="*/ 3352800 w 4524375"/>
              <a:gd name="connsiteY0" fmla="*/ 0 h 1228726"/>
              <a:gd name="connsiteX1" fmla="*/ 0 w 4524375"/>
              <a:gd name="connsiteY1" fmla="*/ 1228726 h 1228726"/>
              <a:gd name="connsiteX2" fmla="*/ 4524375 w 4524375"/>
              <a:gd name="connsiteY2" fmla="*/ 1076326 h 1228726"/>
              <a:gd name="connsiteX3" fmla="*/ 3352800 w 4524375"/>
              <a:gd name="connsiteY3" fmla="*/ 0 h 1228726"/>
              <a:gd name="connsiteX0" fmla="*/ 3357563 w 4524375"/>
              <a:gd name="connsiteY0" fmla="*/ 0 h 1223963"/>
              <a:gd name="connsiteX1" fmla="*/ 0 w 4524375"/>
              <a:gd name="connsiteY1" fmla="*/ 1223963 h 1223963"/>
              <a:gd name="connsiteX2" fmla="*/ 4524375 w 4524375"/>
              <a:gd name="connsiteY2" fmla="*/ 1071563 h 1223963"/>
              <a:gd name="connsiteX3" fmla="*/ 3357563 w 4524375"/>
              <a:gd name="connsiteY3" fmla="*/ 0 h 1223963"/>
              <a:gd name="connsiteX0" fmla="*/ 3371851 w 4538663"/>
              <a:gd name="connsiteY0" fmla="*/ 0 h 1219200"/>
              <a:gd name="connsiteX1" fmla="*/ 0 w 4538663"/>
              <a:gd name="connsiteY1" fmla="*/ 1219200 h 1219200"/>
              <a:gd name="connsiteX2" fmla="*/ 4538663 w 4538663"/>
              <a:gd name="connsiteY2" fmla="*/ 1071563 h 1219200"/>
              <a:gd name="connsiteX3" fmla="*/ 3371851 w 4538663"/>
              <a:gd name="connsiteY3" fmla="*/ 0 h 1219200"/>
              <a:gd name="connsiteX0" fmla="*/ 3243264 w 4410076"/>
              <a:gd name="connsiteY0" fmla="*/ 0 h 1071563"/>
              <a:gd name="connsiteX1" fmla="*/ 0 w 4410076"/>
              <a:gd name="connsiteY1" fmla="*/ 1033463 h 1071563"/>
              <a:gd name="connsiteX2" fmla="*/ 4410076 w 4410076"/>
              <a:gd name="connsiteY2" fmla="*/ 1071563 h 1071563"/>
              <a:gd name="connsiteX3" fmla="*/ 3243264 w 4410076"/>
              <a:gd name="connsiteY3" fmla="*/ 0 h 1071563"/>
              <a:gd name="connsiteX0" fmla="*/ 3352801 w 4519613"/>
              <a:gd name="connsiteY0" fmla="*/ 0 h 1214438"/>
              <a:gd name="connsiteX1" fmla="*/ 0 w 4519613"/>
              <a:gd name="connsiteY1" fmla="*/ 1214438 h 1214438"/>
              <a:gd name="connsiteX2" fmla="*/ 4519613 w 4519613"/>
              <a:gd name="connsiteY2" fmla="*/ 1071563 h 1214438"/>
              <a:gd name="connsiteX3" fmla="*/ 3352801 w 4519613"/>
              <a:gd name="connsiteY3" fmla="*/ 0 h 1214438"/>
              <a:gd name="connsiteX0" fmla="*/ 3352801 w 4533261"/>
              <a:gd name="connsiteY0" fmla="*/ 0 h 1214438"/>
              <a:gd name="connsiteX1" fmla="*/ 0 w 4533261"/>
              <a:gd name="connsiteY1" fmla="*/ 1214438 h 1214438"/>
              <a:gd name="connsiteX2" fmla="*/ 4533261 w 4533261"/>
              <a:gd name="connsiteY2" fmla="*/ 1071563 h 1214438"/>
              <a:gd name="connsiteX3" fmla="*/ 3352801 w 4533261"/>
              <a:gd name="connsiteY3" fmla="*/ 0 h 1214438"/>
              <a:gd name="connsiteX0" fmla="*/ 3352801 w 4533261"/>
              <a:gd name="connsiteY0" fmla="*/ 0 h 1214438"/>
              <a:gd name="connsiteX1" fmla="*/ 0 w 4533261"/>
              <a:gd name="connsiteY1" fmla="*/ 1214438 h 1214438"/>
              <a:gd name="connsiteX2" fmla="*/ 4533261 w 4533261"/>
              <a:gd name="connsiteY2" fmla="*/ 1098859 h 1214438"/>
              <a:gd name="connsiteX3" fmla="*/ 3352801 w 4533261"/>
              <a:gd name="connsiteY3" fmla="*/ 0 h 1214438"/>
            </a:gdLst>
            <a:ahLst/>
            <a:cxnLst>
              <a:cxn ang="0">
                <a:pos x="connsiteX0" y="connsiteY0"/>
              </a:cxn>
              <a:cxn ang="0">
                <a:pos x="connsiteX1" y="connsiteY1"/>
              </a:cxn>
              <a:cxn ang="0">
                <a:pos x="connsiteX2" y="connsiteY2"/>
              </a:cxn>
              <a:cxn ang="0">
                <a:pos x="connsiteX3" y="connsiteY3"/>
              </a:cxn>
            </a:cxnLst>
            <a:rect l="l" t="t" r="r" b="b"/>
            <a:pathLst>
              <a:path w="4533261" h="1214438">
                <a:moveTo>
                  <a:pt x="3352801" y="0"/>
                </a:moveTo>
                <a:lnTo>
                  <a:pt x="0" y="1214438"/>
                </a:lnTo>
                <a:lnTo>
                  <a:pt x="4533261" y="1098859"/>
                </a:lnTo>
                <a:lnTo>
                  <a:pt x="3352801" y="0"/>
                </a:lnTo>
                <a:close/>
              </a:path>
            </a:pathLst>
          </a:custGeom>
          <a:gradFill>
            <a:gsLst>
              <a:gs pos="15000">
                <a:schemeClr val="accent2"/>
              </a:gs>
              <a:gs pos="100000">
                <a:schemeClr val="accent1"/>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8" name="Freeform 17"/>
          <p:cNvSpPr/>
          <p:nvPr userDrawn="1"/>
        </p:nvSpPr>
        <p:spPr>
          <a:xfrm>
            <a:off x="11015664" y="1"/>
            <a:ext cx="1176841" cy="1098080"/>
          </a:xfrm>
          <a:custGeom>
            <a:avLst/>
            <a:gdLst>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6299"/>
              <a:gd name="connsiteY0" fmla="*/ 0 h 1085850"/>
              <a:gd name="connsiteX1" fmla="*/ 1176299 w 1176299"/>
              <a:gd name="connsiteY1" fmla="*/ 1085850 h 1085850"/>
              <a:gd name="connsiteX2" fmla="*/ 1171575 w 1176299"/>
              <a:gd name="connsiteY2" fmla="*/ 0 h 1085850"/>
              <a:gd name="connsiteX3" fmla="*/ 0 w 1176299"/>
              <a:gd name="connsiteY3" fmla="*/ 0 h 1085850"/>
              <a:gd name="connsiteX0" fmla="*/ 0 w 1181344"/>
              <a:gd name="connsiteY0" fmla="*/ 0 h 1085850"/>
              <a:gd name="connsiteX1" fmla="*/ 1176299 w 1181344"/>
              <a:gd name="connsiteY1" fmla="*/ 1085850 h 1085850"/>
              <a:gd name="connsiteX2" fmla="*/ 1181138 w 1181344"/>
              <a:gd name="connsiteY2" fmla="*/ 0 h 1085850"/>
              <a:gd name="connsiteX3" fmla="*/ 0 w 1181344"/>
              <a:gd name="connsiteY3" fmla="*/ 0 h 1085850"/>
              <a:gd name="connsiteX0" fmla="*/ 0 w 1181586"/>
              <a:gd name="connsiteY0" fmla="*/ 0 h 1081088"/>
              <a:gd name="connsiteX1" fmla="*/ 1181080 w 1181586"/>
              <a:gd name="connsiteY1" fmla="*/ 1081088 h 1081088"/>
              <a:gd name="connsiteX2" fmla="*/ 1181138 w 1181586"/>
              <a:gd name="connsiteY2" fmla="*/ 0 h 1081088"/>
              <a:gd name="connsiteX3" fmla="*/ 0 w 1181586"/>
              <a:gd name="connsiteY3" fmla="*/ 0 h 1081088"/>
              <a:gd name="connsiteX0" fmla="*/ 0 w 1181586"/>
              <a:gd name="connsiteY0" fmla="*/ 0 h 1070785"/>
              <a:gd name="connsiteX1" fmla="*/ 1181080 w 1181586"/>
              <a:gd name="connsiteY1" fmla="*/ 1070785 h 1070785"/>
              <a:gd name="connsiteX2" fmla="*/ 1181138 w 1181586"/>
              <a:gd name="connsiteY2" fmla="*/ 0 h 1070785"/>
              <a:gd name="connsiteX3" fmla="*/ 0 w 1181586"/>
              <a:gd name="connsiteY3" fmla="*/ 0 h 1070785"/>
              <a:gd name="connsiteX0" fmla="*/ 0 w 1181152"/>
              <a:gd name="connsiteY0" fmla="*/ 0 h 593113"/>
              <a:gd name="connsiteX1" fmla="*/ 1057755 w 1181152"/>
              <a:gd name="connsiteY1" fmla="*/ 593113 h 593113"/>
              <a:gd name="connsiteX2" fmla="*/ 1181138 w 1181152"/>
              <a:gd name="connsiteY2" fmla="*/ 0 h 593113"/>
              <a:gd name="connsiteX3" fmla="*/ 0 w 1181152"/>
              <a:gd name="connsiteY3" fmla="*/ 0 h 593113"/>
              <a:gd name="connsiteX0" fmla="*/ 0 w 1181586"/>
              <a:gd name="connsiteY0" fmla="*/ 0 h 1098080"/>
              <a:gd name="connsiteX1" fmla="*/ 1181081 w 1181586"/>
              <a:gd name="connsiteY1" fmla="*/ 1098080 h 1098080"/>
              <a:gd name="connsiteX2" fmla="*/ 1181138 w 1181586"/>
              <a:gd name="connsiteY2" fmla="*/ 0 h 1098080"/>
              <a:gd name="connsiteX3" fmla="*/ 0 w 1181586"/>
              <a:gd name="connsiteY3" fmla="*/ 0 h 1098080"/>
            </a:gdLst>
            <a:ahLst/>
            <a:cxnLst>
              <a:cxn ang="0">
                <a:pos x="connsiteX0" y="connsiteY0"/>
              </a:cxn>
              <a:cxn ang="0">
                <a:pos x="connsiteX1" y="connsiteY1"/>
              </a:cxn>
              <a:cxn ang="0">
                <a:pos x="connsiteX2" y="connsiteY2"/>
              </a:cxn>
              <a:cxn ang="0">
                <a:pos x="connsiteX3" y="connsiteY3"/>
              </a:cxn>
            </a:cxnLst>
            <a:rect l="l" t="t" r="r" b="b"/>
            <a:pathLst>
              <a:path w="1181586" h="1098080">
                <a:moveTo>
                  <a:pt x="0" y="0"/>
                </a:moveTo>
                <a:lnTo>
                  <a:pt x="1181081" y="1098080"/>
                </a:lnTo>
                <a:cubicBezTo>
                  <a:pt x="1179506" y="736130"/>
                  <a:pt x="1182713" y="361950"/>
                  <a:pt x="1181138" y="0"/>
                </a:cubicBezTo>
                <a:lnTo>
                  <a:pt x="0" y="0"/>
                </a:lnTo>
                <a:close/>
              </a:path>
            </a:pathLst>
          </a:custGeom>
          <a:gradFill>
            <a:gsLst>
              <a:gs pos="23000">
                <a:schemeClr val="accent1"/>
              </a:gs>
              <a:gs pos="100000">
                <a:schemeClr val="accent2"/>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9" name="Freeform 18"/>
          <p:cNvSpPr/>
          <p:nvPr userDrawn="1"/>
        </p:nvSpPr>
        <p:spPr>
          <a:xfrm>
            <a:off x="10959906" y="1057275"/>
            <a:ext cx="1232552" cy="3276600"/>
          </a:xfrm>
          <a:custGeom>
            <a:avLst/>
            <a:gdLst>
              <a:gd name="connsiteX0" fmla="*/ 1171575 w 1176337"/>
              <a:gd name="connsiteY0" fmla="*/ 0 h 3267075"/>
              <a:gd name="connsiteX1" fmla="*/ 0 w 1176337"/>
              <a:gd name="connsiteY1" fmla="*/ 2762250 h 3267075"/>
              <a:gd name="connsiteX2" fmla="*/ 1176337 w 1176337"/>
              <a:gd name="connsiteY2" fmla="*/ 3267075 h 3267075"/>
              <a:gd name="connsiteX3" fmla="*/ 1171575 w 1176337"/>
              <a:gd name="connsiteY3" fmla="*/ 0 h 3267075"/>
              <a:gd name="connsiteX0" fmla="*/ 1176337 w 1176795"/>
              <a:gd name="connsiteY0" fmla="*/ 0 h 3276600"/>
              <a:gd name="connsiteX1" fmla="*/ 0 w 1176795"/>
              <a:gd name="connsiteY1" fmla="*/ 2771775 h 3276600"/>
              <a:gd name="connsiteX2" fmla="*/ 1176337 w 1176795"/>
              <a:gd name="connsiteY2" fmla="*/ 3276600 h 3276600"/>
              <a:gd name="connsiteX3" fmla="*/ 1176337 w 1176795"/>
              <a:gd name="connsiteY3" fmla="*/ 0 h 3276600"/>
              <a:gd name="connsiteX0" fmla="*/ 1209791 w 1210249"/>
              <a:gd name="connsiteY0" fmla="*/ 0 h 3276600"/>
              <a:gd name="connsiteX1" fmla="*/ 0 w 1210249"/>
              <a:gd name="connsiteY1" fmla="*/ 2771775 h 3276600"/>
              <a:gd name="connsiteX2" fmla="*/ 1209791 w 1210249"/>
              <a:gd name="connsiteY2" fmla="*/ 3276600 h 3276600"/>
              <a:gd name="connsiteX3" fmla="*/ 1209791 w 1210249"/>
              <a:gd name="connsiteY3" fmla="*/ 0 h 3276600"/>
              <a:gd name="connsiteX0" fmla="*/ 1232094 w 1232552"/>
              <a:gd name="connsiteY0" fmla="*/ 0 h 3276600"/>
              <a:gd name="connsiteX1" fmla="*/ 0 w 1232552"/>
              <a:gd name="connsiteY1" fmla="*/ 2749472 h 3276600"/>
              <a:gd name="connsiteX2" fmla="*/ 1232094 w 1232552"/>
              <a:gd name="connsiteY2" fmla="*/ 3276600 h 3276600"/>
              <a:gd name="connsiteX3" fmla="*/ 1232094 w 1232552"/>
              <a:gd name="connsiteY3" fmla="*/ 0 h 3276600"/>
            </a:gdLst>
            <a:ahLst/>
            <a:cxnLst>
              <a:cxn ang="0">
                <a:pos x="connsiteX0" y="connsiteY0"/>
              </a:cxn>
              <a:cxn ang="0">
                <a:pos x="connsiteX1" y="connsiteY1"/>
              </a:cxn>
              <a:cxn ang="0">
                <a:pos x="connsiteX2" y="connsiteY2"/>
              </a:cxn>
              <a:cxn ang="0">
                <a:pos x="connsiteX3" y="connsiteY3"/>
              </a:cxn>
            </a:cxnLst>
            <a:rect l="l" t="t" r="r" b="b"/>
            <a:pathLst>
              <a:path w="1232552" h="3276600">
                <a:moveTo>
                  <a:pt x="1232094" y="0"/>
                </a:moveTo>
                <a:lnTo>
                  <a:pt x="0" y="2749472"/>
                </a:lnTo>
                <a:lnTo>
                  <a:pt x="1232094" y="3276600"/>
                </a:lnTo>
                <a:cubicBezTo>
                  <a:pt x="1230507" y="2187575"/>
                  <a:pt x="1233681" y="1089025"/>
                  <a:pt x="1232094" y="0"/>
                </a:cubicBezTo>
                <a:close/>
              </a:path>
            </a:pathLst>
          </a:custGeom>
          <a:gradFill>
            <a:gsLst>
              <a:gs pos="21000">
                <a:schemeClr val="accent1"/>
              </a:gs>
              <a:gs pos="100000">
                <a:schemeClr val="accent2"/>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0" name="Freeform 19"/>
          <p:cNvSpPr/>
          <p:nvPr userDrawn="1"/>
        </p:nvSpPr>
        <p:spPr>
          <a:xfrm>
            <a:off x="6366969" y="2428875"/>
            <a:ext cx="3339005" cy="2271713"/>
          </a:xfrm>
          <a:custGeom>
            <a:avLst/>
            <a:gdLst>
              <a:gd name="connsiteX0" fmla="*/ 0 w 3324225"/>
              <a:gd name="connsiteY0" fmla="*/ 590550 h 2271713"/>
              <a:gd name="connsiteX1" fmla="*/ 1343025 w 3324225"/>
              <a:gd name="connsiteY1" fmla="*/ 2271713 h 2271713"/>
              <a:gd name="connsiteX2" fmla="*/ 3324225 w 3324225"/>
              <a:gd name="connsiteY2" fmla="*/ 0 h 2271713"/>
              <a:gd name="connsiteX3" fmla="*/ 0 w 3324225"/>
              <a:gd name="connsiteY3" fmla="*/ 590550 h 2271713"/>
              <a:gd name="connsiteX0" fmla="*/ 0 w 3333750"/>
              <a:gd name="connsiteY0" fmla="*/ 585787 h 2271713"/>
              <a:gd name="connsiteX1" fmla="*/ 1352550 w 3333750"/>
              <a:gd name="connsiteY1" fmla="*/ 2271713 h 2271713"/>
              <a:gd name="connsiteX2" fmla="*/ 3333750 w 3333750"/>
              <a:gd name="connsiteY2" fmla="*/ 0 h 2271713"/>
              <a:gd name="connsiteX3" fmla="*/ 0 w 3333750"/>
              <a:gd name="connsiteY3" fmla="*/ 585787 h 2271713"/>
              <a:gd name="connsiteX0" fmla="*/ 0 w 3333750"/>
              <a:gd name="connsiteY0" fmla="*/ 591043 h 2271713"/>
              <a:gd name="connsiteX1" fmla="*/ 1352550 w 3333750"/>
              <a:gd name="connsiteY1" fmla="*/ 2271713 h 2271713"/>
              <a:gd name="connsiteX2" fmla="*/ 3333750 w 3333750"/>
              <a:gd name="connsiteY2" fmla="*/ 0 h 2271713"/>
              <a:gd name="connsiteX3" fmla="*/ 0 w 3333750"/>
              <a:gd name="connsiteY3" fmla="*/ 591043 h 2271713"/>
              <a:gd name="connsiteX0" fmla="*/ 0 w 3339005"/>
              <a:gd name="connsiteY0" fmla="*/ 591043 h 2271713"/>
              <a:gd name="connsiteX1" fmla="*/ 1357805 w 3339005"/>
              <a:gd name="connsiteY1" fmla="*/ 2271713 h 2271713"/>
              <a:gd name="connsiteX2" fmla="*/ 3339005 w 3339005"/>
              <a:gd name="connsiteY2" fmla="*/ 0 h 2271713"/>
              <a:gd name="connsiteX3" fmla="*/ 0 w 3339005"/>
              <a:gd name="connsiteY3" fmla="*/ 591043 h 2271713"/>
            </a:gdLst>
            <a:ahLst/>
            <a:cxnLst>
              <a:cxn ang="0">
                <a:pos x="connsiteX0" y="connsiteY0"/>
              </a:cxn>
              <a:cxn ang="0">
                <a:pos x="connsiteX1" y="connsiteY1"/>
              </a:cxn>
              <a:cxn ang="0">
                <a:pos x="connsiteX2" y="connsiteY2"/>
              </a:cxn>
              <a:cxn ang="0">
                <a:pos x="connsiteX3" y="connsiteY3"/>
              </a:cxn>
            </a:cxnLst>
            <a:rect l="l" t="t" r="r" b="b"/>
            <a:pathLst>
              <a:path w="3339005" h="2271713">
                <a:moveTo>
                  <a:pt x="0" y="591043"/>
                </a:moveTo>
                <a:lnTo>
                  <a:pt x="1357805" y="2271713"/>
                </a:lnTo>
                <a:lnTo>
                  <a:pt x="3339005" y="0"/>
                </a:lnTo>
                <a:lnTo>
                  <a:pt x="0" y="591043"/>
                </a:lnTo>
                <a:close/>
              </a:path>
            </a:pathLst>
          </a:custGeom>
          <a:gradFill>
            <a:gsLst>
              <a:gs pos="0">
                <a:schemeClr val="accent1"/>
              </a:gs>
              <a:gs pos="87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1" name="Freeform 20"/>
          <p:cNvSpPr/>
          <p:nvPr userDrawn="1"/>
        </p:nvSpPr>
        <p:spPr>
          <a:xfrm>
            <a:off x="1025774" y="1761707"/>
            <a:ext cx="2098477" cy="1910094"/>
          </a:xfrm>
          <a:custGeom>
            <a:avLst/>
            <a:gdLst>
              <a:gd name="connsiteX0" fmla="*/ 2086304 w 2086304"/>
              <a:gd name="connsiteY0" fmla="*/ 0 h 1886607"/>
              <a:gd name="connsiteX1" fmla="*/ 0 w 2086304"/>
              <a:gd name="connsiteY1" fmla="*/ 15765 h 1886607"/>
              <a:gd name="connsiteX2" fmla="*/ 362607 w 2086304"/>
              <a:gd name="connsiteY2" fmla="*/ 1886607 h 1886607"/>
              <a:gd name="connsiteX3" fmla="*/ 2086304 w 2086304"/>
              <a:gd name="connsiteY3" fmla="*/ 0 h 1886607"/>
              <a:gd name="connsiteX0" fmla="*/ 2101053 w 2101053"/>
              <a:gd name="connsiteY0" fmla="*/ 0 h 1886607"/>
              <a:gd name="connsiteX1" fmla="*/ 0 w 2101053"/>
              <a:gd name="connsiteY1" fmla="*/ 1207 h 1886607"/>
              <a:gd name="connsiteX2" fmla="*/ 377356 w 2101053"/>
              <a:gd name="connsiteY2" fmla="*/ 1886607 h 1886607"/>
              <a:gd name="connsiteX3" fmla="*/ 2101053 w 2101053"/>
              <a:gd name="connsiteY3" fmla="*/ 0 h 1886607"/>
              <a:gd name="connsiteX0" fmla="*/ 2098477 w 2098477"/>
              <a:gd name="connsiteY0" fmla="*/ 8963 h 1885400"/>
              <a:gd name="connsiteX1" fmla="*/ 0 w 2098477"/>
              <a:gd name="connsiteY1" fmla="*/ 0 h 1885400"/>
              <a:gd name="connsiteX2" fmla="*/ 377356 w 2098477"/>
              <a:gd name="connsiteY2" fmla="*/ 1885400 h 1885400"/>
              <a:gd name="connsiteX3" fmla="*/ 2098477 w 2098477"/>
              <a:gd name="connsiteY3" fmla="*/ 8963 h 1885400"/>
            </a:gdLst>
            <a:ahLst/>
            <a:cxnLst>
              <a:cxn ang="0">
                <a:pos x="connsiteX0" y="connsiteY0"/>
              </a:cxn>
              <a:cxn ang="0">
                <a:pos x="connsiteX1" y="connsiteY1"/>
              </a:cxn>
              <a:cxn ang="0">
                <a:pos x="connsiteX2" y="connsiteY2"/>
              </a:cxn>
              <a:cxn ang="0">
                <a:pos x="connsiteX3" y="connsiteY3"/>
              </a:cxn>
            </a:cxnLst>
            <a:rect l="l" t="t" r="r" b="b"/>
            <a:pathLst>
              <a:path w="2098477" h="1885400">
                <a:moveTo>
                  <a:pt x="2098477" y="8963"/>
                </a:moveTo>
                <a:lnTo>
                  <a:pt x="0" y="0"/>
                </a:lnTo>
                <a:lnTo>
                  <a:pt x="377356" y="1885400"/>
                </a:lnTo>
                <a:lnTo>
                  <a:pt x="2098477" y="8963"/>
                </a:lnTo>
                <a:close/>
              </a:path>
            </a:pathLst>
          </a:custGeom>
          <a:gradFill>
            <a:gsLst>
              <a:gs pos="8000">
                <a:schemeClr val="accent2"/>
              </a:gs>
              <a:gs pos="90000">
                <a:schemeClr val="accent1"/>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2" name="Freeform 21"/>
          <p:cNvSpPr/>
          <p:nvPr userDrawn="1"/>
        </p:nvSpPr>
        <p:spPr>
          <a:xfrm>
            <a:off x="3532" y="4857972"/>
            <a:ext cx="4090198" cy="2007612"/>
          </a:xfrm>
          <a:custGeom>
            <a:avLst/>
            <a:gdLst>
              <a:gd name="connsiteX0" fmla="*/ 3576398 w 4077729"/>
              <a:gd name="connsiteY0" fmla="*/ 0 h 1994733"/>
              <a:gd name="connsiteX1" fmla="*/ 4077729 w 4077729"/>
              <a:gd name="connsiteY1" fmla="*/ 1101516 h 1994733"/>
              <a:gd name="connsiteX2" fmla="*/ 0 w 4077729"/>
              <a:gd name="connsiteY2" fmla="*/ 1994733 h 1994733"/>
              <a:gd name="connsiteX3" fmla="*/ 3576398 w 4077729"/>
              <a:gd name="connsiteY3" fmla="*/ 0 h 1994733"/>
              <a:gd name="connsiteX0" fmla="*/ 3576398 w 4086042"/>
              <a:gd name="connsiteY0" fmla="*/ 0 h 1994733"/>
              <a:gd name="connsiteX1" fmla="*/ 4086042 w 4086042"/>
              <a:gd name="connsiteY1" fmla="*/ 1093204 h 1994733"/>
              <a:gd name="connsiteX2" fmla="*/ 0 w 4086042"/>
              <a:gd name="connsiteY2" fmla="*/ 1994733 h 1994733"/>
              <a:gd name="connsiteX3" fmla="*/ 3576398 w 4086042"/>
              <a:gd name="connsiteY3" fmla="*/ 0 h 1994733"/>
              <a:gd name="connsiteX0" fmla="*/ 3576398 w 4090198"/>
              <a:gd name="connsiteY0" fmla="*/ 0 h 1994733"/>
              <a:gd name="connsiteX1" fmla="*/ 4090198 w 4090198"/>
              <a:gd name="connsiteY1" fmla="*/ 1084892 h 1994733"/>
              <a:gd name="connsiteX2" fmla="*/ 0 w 4090198"/>
              <a:gd name="connsiteY2" fmla="*/ 1994733 h 1994733"/>
              <a:gd name="connsiteX3" fmla="*/ 3576398 w 4090198"/>
              <a:gd name="connsiteY3" fmla="*/ 0 h 1994733"/>
              <a:gd name="connsiteX0" fmla="*/ 3576398 w 4090198"/>
              <a:gd name="connsiteY0" fmla="*/ 0 h 2007612"/>
              <a:gd name="connsiteX1" fmla="*/ 4090198 w 4090198"/>
              <a:gd name="connsiteY1" fmla="*/ 1084892 h 2007612"/>
              <a:gd name="connsiteX2" fmla="*/ 0 w 4090198"/>
              <a:gd name="connsiteY2" fmla="*/ 2007612 h 2007612"/>
              <a:gd name="connsiteX3" fmla="*/ 3576398 w 4090198"/>
              <a:gd name="connsiteY3" fmla="*/ 0 h 2007612"/>
            </a:gdLst>
            <a:ahLst/>
            <a:cxnLst>
              <a:cxn ang="0">
                <a:pos x="connsiteX0" y="connsiteY0"/>
              </a:cxn>
              <a:cxn ang="0">
                <a:pos x="connsiteX1" y="connsiteY1"/>
              </a:cxn>
              <a:cxn ang="0">
                <a:pos x="connsiteX2" y="connsiteY2"/>
              </a:cxn>
              <a:cxn ang="0">
                <a:pos x="connsiteX3" y="connsiteY3"/>
              </a:cxn>
            </a:cxnLst>
            <a:rect l="l" t="t" r="r" b="b"/>
            <a:pathLst>
              <a:path w="4090198" h="2007612">
                <a:moveTo>
                  <a:pt x="3576398" y="0"/>
                </a:moveTo>
                <a:lnTo>
                  <a:pt x="4090198" y="1084892"/>
                </a:lnTo>
                <a:lnTo>
                  <a:pt x="0" y="2007612"/>
                </a:lnTo>
                <a:lnTo>
                  <a:pt x="3576398" y="0"/>
                </a:lnTo>
                <a:close/>
              </a:path>
            </a:pathLst>
          </a:custGeom>
          <a:gradFill>
            <a:gsLst>
              <a:gs pos="15000">
                <a:schemeClr val="accent1"/>
              </a:gs>
              <a:gs pos="100000">
                <a:schemeClr val="accent2"/>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3" name="Freeform 22"/>
          <p:cNvSpPr/>
          <p:nvPr userDrawn="1"/>
        </p:nvSpPr>
        <p:spPr>
          <a:xfrm>
            <a:off x="-6301" y="5938309"/>
            <a:ext cx="4092304" cy="924304"/>
          </a:xfrm>
          <a:custGeom>
            <a:avLst/>
            <a:gdLst>
              <a:gd name="connsiteX0" fmla="*/ 4074199 w 4074199"/>
              <a:gd name="connsiteY0" fmla="*/ 0 h 907339"/>
              <a:gd name="connsiteX1" fmla="*/ 3357507 w 4074199"/>
              <a:gd name="connsiteY1" fmla="*/ 907339 h 907339"/>
              <a:gd name="connsiteX2" fmla="*/ 0 w 4074199"/>
              <a:gd name="connsiteY2" fmla="*/ 907339 h 907339"/>
              <a:gd name="connsiteX3" fmla="*/ 4074199 w 4074199"/>
              <a:gd name="connsiteY3" fmla="*/ 0 h 907339"/>
              <a:gd name="connsiteX0" fmla="*/ 4084791 w 4084791"/>
              <a:gd name="connsiteY0" fmla="*/ 0 h 907339"/>
              <a:gd name="connsiteX1" fmla="*/ 3368099 w 4084791"/>
              <a:gd name="connsiteY1" fmla="*/ 907339 h 907339"/>
              <a:gd name="connsiteX2" fmla="*/ 0 w 4084791"/>
              <a:gd name="connsiteY2" fmla="*/ 907339 h 907339"/>
              <a:gd name="connsiteX3" fmla="*/ 4084791 w 4084791"/>
              <a:gd name="connsiteY3" fmla="*/ 0 h 907339"/>
              <a:gd name="connsiteX0" fmla="*/ 4100031 w 4100031"/>
              <a:gd name="connsiteY0" fmla="*/ 0 h 907339"/>
              <a:gd name="connsiteX1" fmla="*/ 3368099 w 4100031"/>
              <a:gd name="connsiteY1" fmla="*/ 907339 h 907339"/>
              <a:gd name="connsiteX2" fmla="*/ 0 w 4100031"/>
              <a:gd name="connsiteY2" fmla="*/ 907339 h 907339"/>
              <a:gd name="connsiteX3" fmla="*/ 4100031 w 4100031"/>
              <a:gd name="connsiteY3" fmla="*/ 0 h 907339"/>
              <a:gd name="connsiteX0" fmla="*/ 4102607 w 4102607"/>
              <a:gd name="connsiteY0" fmla="*/ 0 h 907339"/>
              <a:gd name="connsiteX1" fmla="*/ 3370675 w 4102607"/>
              <a:gd name="connsiteY1" fmla="*/ 907339 h 907339"/>
              <a:gd name="connsiteX2" fmla="*/ 0 w 4102607"/>
              <a:gd name="connsiteY2" fmla="*/ 857464 h 907339"/>
              <a:gd name="connsiteX3" fmla="*/ 4102607 w 4102607"/>
              <a:gd name="connsiteY3" fmla="*/ 0 h 907339"/>
              <a:gd name="connsiteX0" fmla="*/ 4097455 w 4097455"/>
              <a:gd name="connsiteY0" fmla="*/ 0 h 907339"/>
              <a:gd name="connsiteX1" fmla="*/ 3365523 w 4097455"/>
              <a:gd name="connsiteY1" fmla="*/ 907339 h 907339"/>
              <a:gd name="connsiteX2" fmla="*/ 0 w 4097455"/>
              <a:gd name="connsiteY2" fmla="*/ 859958 h 907339"/>
              <a:gd name="connsiteX3" fmla="*/ 4097455 w 4097455"/>
              <a:gd name="connsiteY3" fmla="*/ 0 h 907339"/>
              <a:gd name="connsiteX0" fmla="*/ 4097455 w 4097455"/>
              <a:gd name="connsiteY0" fmla="*/ 0 h 862451"/>
              <a:gd name="connsiteX1" fmla="*/ 3411887 w 4097455"/>
              <a:gd name="connsiteY1" fmla="*/ 862451 h 862451"/>
              <a:gd name="connsiteX2" fmla="*/ 0 w 4097455"/>
              <a:gd name="connsiteY2" fmla="*/ 859958 h 862451"/>
              <a:gd name="connsiteX3" fmla="*/ 4097455 w 4097455"/>
              <a:gd name="connsiteY3" fmla="*/ 0 h 862451"/>
              <a:gd name="connsiteX0" fmla="*/ 4089728 w 4089728"/>
              <a:gd name="connsiteY0" fmla="*/ 0 h 892377"/>
              <a:gd name="connsiteX1" fmla="*/ 3411887 w 4089728"/>
              <a:gd name="connsiteY1" fmla="*/ 892377 h 892377"/>
              <a:gd name="connsiteX2" fmla="*/ 0 w 4089728"/>
              <a:gd name="connsiteY2" fmla="*/ 889884 h 892377"/>
              <a:gd name="connsiteX3" fmla="*/ 4089728 w 4089728"/>
              <a:gd name="connsiteY3" fmla="*/ 0 h 892377"/>
              <a:gd name="connsiteX0" fmla="*/ 4089728 w 4089728"/>
              <a:gd name="connsiteY0" fmla="*/ 0 h 892377"/>
              <a:gd name="connsiteX1" fmla="*/ 3424766 w 4089728"/>
              <a:gd name="connsiteY1" fmla="*/ 892377 h 892377"/>
              <a:gd name="connsiteX2" fmla="*/ 0 w 4089728"/>
              <a:gd name="connsiteY2" fmla="*/ 889884 h 892377"/>
              <a:gd name="connsiteX3" fmla="*/ 4089728 w 4089728"/>
              <a:gd name="connsiteY3" fmla="*/ 0 h 892377"/>
              <a:gd name="connsiteX0" fmla="*/ 4089728 w 4089728"/>
              <a:gd name="connsiteY0" fmla="*/ 0 h 889884"/>
              <a:gd name="connsiteX1" fmla="*/ 3360372 w 4089728"/>
              <a:gd name="connsiteY1" fmla="*/ 889884 h 889884"/>
              <a:gd name="connsiteX2" fmla="*/ 0 w 4089728"/>
              <a:gd name="connsiteY2" fmla="*/ 889884 h 889884"/>
              <a:gd name="connsiteX3" fmla="*/ 4089728 w 4089728"/>
              <a:gd name="connsiteY3" fmla="*/ 0 h 889884"/>
              <a:gd name="connsiteX0" fmla="*/ 4079425 w 4079425"/>
              <a:gd name="connsiteY0" fmla="*/ 0 h 889884"/>
              <a:gd name="connsiteX1" fmla="*/ 3350069 w 4079425"/>
              <a:gd name="connsiteY1" fmla="*/ 889884 h 889884"/>
              <a:gd name="connsiteX2" fmla="*/ 0 w 4079425"/>
              <a:gd name="connsiteY2" fmla="*/ 882403 h 889884"/>
              <a:gd name="connsiteX3" fmla="*/ 4079425 w 4079425"/>
              <a:gd name="connsiteY3" fmla="*/ 0 h 889884"/>
              <a:gd name="connsiteX0" fmla="*/ 4082000 w 4082000"/>
              <a:gd name="connsiteY0" fmla="*/ 0 h 889884"/>
              <a:gd name="connsiteX1" fmla="*/ 3352644 w 4082000"/>
              <a:gd name="connsiteY1" fmla="*/ 889884 h 889884"/>
              <a:gd name="connsiteX2" fmla="*/ 0 w 4082000"/>
              <a:gd name="connsiteY2" fmla="*/ 882403 h 889884"/>
              <a:gd name="connsiteX3" fmla="*/ 4082000 w 4082000"/>
              <a:gd name="connsiteY3" fmla="*/ 0 h 889884"/>
              <a:gd name="connsiteX0" fmla="*/ 4087152 w 4087152"/>
              <a:gd name="connsiteY0" fmla="*/ 0 h 1007091"/>
              <a:gd name="connsiteX1" fmla="*/ 3357796 w 4087152"/>
              <a:gd name="connsiteY1" fmla="*/ 889884 h 1007091"/>
              <a:gd name="connsiteX2" fmla="*/ 0 w 4087152"/>
              <a:gd name="connsiteY2" fmla="*/ 1007091 h 1007091"/>
              <a:gd name="connsiteX3" fmla="*/ 4087152 w 4087152"/>
              <a:gd name="connsiteY3" fmla="*/ 0 h 1007091"/>
              <a:gd name="connsiteX0" fmla="*/ 4092304 w 4092304"/>
              <a:gd name="connsiteY0" fmla="*/ 0 h 894872"/>
              <a:gd name="connsiteX1" fmla="*/ 3362948 w 4092304"/>
              <a:gd name="connsiteY1" fmla="*/ 889884 h 894872"/>
              <a:gd name="connsiteX2" fmla="*/ 0 w 4092304"/>
              <a:gd name="connsiteY2" fmla="*/ 894872 h 894872"/>
              <a:gd name="connsiteX3" fmla="*/ 4092304 w 4092304"/>
              <a:gd name="connsiteY3" fmla="*/ 0 h 894872"/>
            </a:gdLst>
            <a:ahLst/>
            <a:cxnLst>
              <a:cxn ang="0">
                <a:pos x="connsiteX0" y="connsiteY0"/>
              </a:cxn>
              <a:cxn ang="0">
                <a:pos x="connsiteX1" y="connsiteY1"/>
              </a:cxn>
              <a:cxn ang="0">
                <a:pos x="connsiteX2" y="connsiteY2"/>
              </a:cxn>
              <a:cxn ang="0">
                <a:pos x="connsiteX3" y="connsiteY3"/>
              </a:cxn>
            </a:cxnLst>
            <a:rect l="l" t="t" r="r" b="b"/>
            <a:pathLst>
              <a:path w="4092304" h="894872">
                <a:moveTo>
                  <a:pt x="4092304" y="0"/>
                </a:moveTo>
                <a:lnTo>
                  <a:pt x="3362948" y="889884"/>
                </a:lnTo>
                <a:lnTo>
                  <a:pt x="0" y="894872"/>
                </a:lnTo>
                <a:lnTo>
                  <a:pt x="4092304" y="0"/>
                </a:lnTo>
                <a:close/>
              </a:path>
            </a:pathLst>
          </a:custGeom>
          <a:gradFill>
            <a:gsLst>
              <a:gs pos="21000">
                <a:schemeClr val="accent1"/>
              </a:gs>
              <a:gs pos="10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4" name="Freeform 23"/>
          <p:cNvSpPr/>
          <p:nvPr userDrawn="1"/>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Freeform 24"/>
          <p:cNvSpPr/>
          <p:nvPr userDrawn="1"/>
        </p:nvSpPr>
        <p:spPr>
          <a:xfrm>
            <a:off x="3317876" y="5936217"/>
            <a:ext cx="5416584" cy="930949"/>
          </a:xfrm>
          <a:custGeom>
            <a:avLst/>
            <a:gdLst>
              <a:gd name="connsiteX0" fmla="*/ 683287 w 5365819"/>
              <a:gd name="connsiteY0" fmla="*/ 0 h 914400"/>
              <a:gd name="connsiteX1" fmla="*/ 5365819 w 5365819"/>
              <a:gd name="connsiteY1" fmla="*/ 904351 h 914400"/>
              <a:gd name="connsiteX2" fmla="*/ 0 w 5365819"/>
              <a:gd name="connsiteY2" fmla="*/ 914400 h 914400"/>
              <a:gd name="connsiteX3" fmla="*/ 683287 w 5365819"/>
              <a:gd name="connsiteY3" fmla="*/ 0 h 914400"/>
              <a:gd name="connsiteX0" fmla="*/ 711531 w 5394063"/>
              <a:gd name="connsiteY0" fmla="*/ 0 h 917930"/>
              <a:gd name="connsiteX1" fmla="*/ 5394063 w 5394063"/>
              <a:gd name="connsiteY1" fmla="*/ 904351 h 917930"/>
              <a:gd name="connsiteX2" fmla="*/ 0 w 5394063"/>
              <a:gd name="connsiteY2" fmla="*/ 917930 h 917930"/>
              <a:gd name="connsiteX3" fmla="*/ 711531 w 5394063"/>
              <a:gd name="connsiteY3" fmla="*/ 0 h 917930"/>
              <a:gd name="connsiteX0" fmla="*/ 725653 w 5394063"/>
              <a:gd name="connsiteY0" fmla="*/ 0 h 910869"/>
              <a:gd name="connsiteX1" fmla="*/ 5394063 w 5394063"/>
              <a:gd name="connsiteY1" fmla="*/ 897290 h 910869"/>
              <a:gd name="connsiteX2" fmla="*/ 0 w 5394063"/>
              <a:gd name="connsiteY2" fmla="*/ 910869 h 910869"/>
              <a:gd name="connsiteX3" fmla="*/ 725653 w 5394063"/>
              <a:gd name="connsiteY3" fmla="*/ 0 h 910869"/>
              <a:gd name="connsiteX0" fmla="*/ 725653 w 5376410"/>
              <a:gd name="connsiteY0" fmla="*/ 0 h 910869"/>
              <a:gd name="connsiteX1" fmla="*/ 5376410 w 5376410"/>
              <a:gd name="connsiteY1" fmla="*/ 907881 h 910869"/>
              <a:gd name="connsiteX2" fmla="*/ 0 w 5376410"/>
              <a:gd name="connsiteY2" fmla="*/ 910869 h 910869"/>
              <a:gd name="connsiteX3" fmla="*/ 725653 w 5376410"/>
              <a:gd name="connsiteY3" fmla="*/ 0 h 910869"/>
              <a:gd name="connsiteX0" fmla="*/ 783842 w 5376410"/>
              <a:gd name="connsiteY0" fmla="*/ 0 h 765396"/>
              <a:gd name="connsiteX1" fmla="*/ 5376410 w 5376410"/>
              <a:gd name="connsiteY1" fmla="*/ 762408 h 765396"/>
              <a:gd name="connsiteX2" fmla="*/ 0 w 5376410"/>
              <a:gd name="connsiteY2" fmla="*/ 765396 h 765396"/>
              <a:gd name="connsiteX3" fmla="*/ 783842 w 5376410"/>
              <a:gd name="connsiteY3" fmla="*/ 0 h 765396"/>
              <a:gd name="connsiteX0" fmla="*/ 729810 w 5376410"/>
              <a:gd name="connsiteY0" fmla="*/ 0 h 910869"/>
              <a:gd name="connsiteX1" fmla="*/ 5376410 w 5376410"/>
              <a:gd name="connsiteY1" fmla="*/ 907881 h 910869"/>
              <a:gd name="connsiteX2" fmla="*/ 0 w 5376410"/>
              <a:gd name="connsiteY2" fmla="*/ 910869 h 910869"/>
              <a:gd name="connsiteX3" fmla="*/ 729810 w 5376410"/>
              <a:gd name="connsiteY3" fmla="*/ 0 h 910869"/>
              <a:gd name="connsiteX0" fmla="*/ 714570 w 5376410"/>
              <a:gd name="connsiteY0" fmla="*/ 0 h 918489"/>
              <a:gd name="connsiteX1" fmla="*/ 5376410 w 5376410"/>
              <a:gd name="connsiteY1" fmla="*/ 915501 h 918489"/>
              <a:gd name="connsiteX2" fmla="*/ 0 w 5376410"/>
              <a:gd name="connsiteY2" fmla="*/ 918489 h 918489"/>
              <a:gd name="connsiteX3" fmla="*/ 714570 w 5376410"/>
              <a:gd name="connsiteY3" fmla="*/ 0 h 918489"/>
              <a:gd name="connsiteX0" fmla="*/ 809820 w 5376410"/>
              <a:gd name="connsiteY0" fmla="*/ 0 h 758469"/>
              <a:gd name="connsiteX1" fmla="*/ 5376410 w 5376410"/>
              <a:gd name="connsiteY1" fmla="*/ 755481 h 758469"/>
              <a:gd name="connsiteX2" fmla="*/ 0 w 5376410"/>
              <a:gd name="connsiteY2" fmla="*/ 758469 h 758469"/>
              <a:gd name="connsiteX3" fmla="*/ 809820 w 5376410"/>
              <a:gd name="connsiteY3" fmla="*/ 0 h 758469"/>
              <a:gd name="connsiteX0" fmla="*/ 710760 w 5376410"/>
              <a:gd name="connsiteY0" fmla="*/ 0 h 918489"/>
              <a:gd name="connsiteX1" fmla="*/ 5376410 w 5376410"/>
              <a:gd name="connsiteY1" fmla="*/ 915501 h 918489"/>
              <a:gd name="connsiteX2" fmla="*/ 0 w 5376410"/>
              <a:gd name="connsiteY2" fmla="*/ 918489 h 918489"/>
              <a:gd name="connsiteX3" fmla="*/ 710760 w 5376410"/>
              <a:gd name="connsiteY3" fmla="*/ 0 h 918489"/>
              <a:gd name="connsiteX0" fmla="*/ 722190 w 5376410"/>
              <a:gd name="connsiteY0" fmla="*/ 0 h 914679"/>
              <a:gd name="connsiteX1" fmla="*/ 5376410 w 5376410"/>
              <a:gd name="connsiteY1" fmla="*/ 911691 h 914679"/>
              <a:gd name="connsiteX2" fmla="*/ 0 w 5376410"/>
              <a:gd name="connsiteY2" fmla="*/ 914679 h 914679"/>
              <a:gd name="connsiteX3" fmla="*/ 722190 w 5376410"/>
              <a:gd name="connsiteY3" fmla="*/ 0 h 914679"/>
              <a:gd name="connsiteX0" fmla="*/ 735069 w 5389289"/>
              <a:gd name="connsiteY0" fmla="*/ 0 h 912104"/>
              <a:gd name="connsiteX1" fmla="*/ 5389289 w 5389289"/>
              <a:gd name="connsiteY1" fmla="*/ 911691 h 912104"/>
              <a:gd name="connsiteX2" fmla="*/ 0 w 5389289"/>
              <a:gd name="connsiteY2" fmla="*/ 912104 h 912104"/>
              <a:gd name="connsiteX3" fmla="*/ 735069 w 5389289"/>
              <a:gd name="connsiteY3" fmla="*/ 0 h 912104"/>
              <a:gd name="connsiteX0" fmla="*/ 735069 w 5389289"/>
              <a:gd name="connsiteY0" fmla="*/ 0 h 925339"/>
              <a:gd name="connsiteX1" fmla="*/ 5389289 w 5389289"/>
              <a:gd name="connsiteY1" fmla="*/ 925339 h 925339"/>
              <a:gd name="connsiteX2" fmla="*/ 0 w 5389289"/>
              <a:gd name="connsiteY2" fmla="*/ 912104 h 925339"/>
              <a:gd name="connsiteX3" fmla="*/ 735069 w 5389289"/>
              <a:gd name="connsiteY3" fmla="*/ 0 h 925339"/>
              <a:gd name="connsiteX0" fmla="*/ 762364 w 5416584"/>
              <a:gd name="connsiteY0" fmla="*/ 0 h 939400"/>
              <a:gd name="connsiteX1" fmla="*/ 5416584 w 5416584"/>
              <a:gd name="connsiteY1" fmla="*/ 925339 h 939400"/>
              <a:gd name="connsiteX2" fmla="*/ 0 w 5416584"/>
              <a:gd name="connsiteY2" fmla="*/ 939400 h 939400"/>
              <a:gd name="connsiteX3" fmla="*/ 762364 w 5416584"/>
              <a:gd name="connsiteY3" fmla="*/ 0 h 939400"/>
              <a:gd name="connsiteX0" fmla="*/ 762364 w 5416584"/>
              <a:gd name="connsiteY0" fmla="*/ 0 h 945010"/>
              <a:gd name="connsiteX1" fmla="*/ 5416584 w 5416584"/>
              <a:gd name="connsiteY1" fmla="*/ 930949 h 945010"/>
              <a:gd name="connsiteX2" fmla="*/ 0 w 5416584"/>
              <a:gd name="connsiteY2" fmla="*/ 945010 h 945010"/>
              <a:gd name="connsiteX3" fmla="*/ 762364 w 5416584"/>
              <a:gd name="connsiteY3" fmla="*/ 0 h 945010"/>
              <a:gd name="connsiteX0" fmla="*/ 762364 w 5416584"/>
              <a:gd name="connsiteY0" fmla="*/ 0 h 930949"/>
              <a:gd name="connsiteX1" fmla="*/ 5416584 w 5416584"/>
              <a:gd name="connsiteY1" fmla="*/ 930949 h 930949"/>
              <a:gd name="connsiteX2" fmla="*/ 0 w 5416584"/>
              <a:gd name="connsiteY2" fmla="*/ 921156 h 930949"/>
              <a:gd name="connsiteX3" fmla="*/ 762364 w 5416584"/>
              <a:gd name="connsiteY3" fmla="*/ 0 h 930949"/>
            </a:gdLst>
            <a:ahLst/>
            <a:cxnLst>
              <a:cxn ang="0">
                <a:pos x="connsiteX0" y="connsiteY0"/>
              </a:cxn>
              <a:cxn ang="0">
                <a:pos x="connsiteX1" y="connsiteY1"/>
              </a:cxn>
              <a:cxn ang="0">
                <a:pos x="connsiteX2" y="connsiteY2"/>
              </a:cxn>
              <a:cxn ang="0">
                <a:pos x="connsiteX3" y="connsiteY3"/>
              </a:cxn>
            </a:cxnLst>
            <a:rect l="l" t="t" r="r" b="b"/>
            <a:pathLst>
              <a:path w="5416584" h="930949">
                <a:moveTo>
                  <a:pt x="762364" y="0"/>
                </a:moveTo>
                <a:lnTo>
                  <a:pt x="5416584" y="930949"/>
                </a:lnTo>
                <a:lnTo>
                  <a:pt x="0" y="921156"/>
                </a:lnTo>
                <a:lnTo>
                  <a:pt x="762364" y="0"/>
                </a:lnTo>
                <a:close/>
              </a:path>
            </a:pathLst>
          </a:custGeom>
          <a:gradFill>
            <a:gsLst>
              <a:gs pos="4000">
                <a:schemeClr val="accent1"/>
              </a:gs>
              <a:gs pos="100000">
                <a:schemeClr val="accent2"/>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6" name="Freeform 25"/>
          <p:cNvSpPr/>
          <p:nvPr userDrawn="1"/>
        </p:nvSpPr>
        <p:spPr>
          <a:xfrm>
            <a:off x="10990536" y="3785435"/>
            <a:ext cx="1203845" cy="3091509"/>
          </a:xfrm>
          <a:custGeom>
            <a:avLst/>
            <a:gdLst>
              <a:gd name="connsiteX0" fmla="*/ 0 w 1182718"/>
              <a:gd name="connsiteY0" fmla="*/ 0 h 3032701"/>
              <a:gd name="connsiteX1" fmla="*/ 497800 w 1182718"/>
              <a:gd name="connsiteY1" fmla="*/ 3032701 h 3032701"/>
              <a:gd name="connsiteX2" fmla="*/ 1182718 w 1182718"/>
              <a:gd name="connsiteY2" fmla="*/ 515453 h 3032701"/>
              <a:gd name="connsiteX3" fmla="*/ 0 w 1182718"/>
              <a:gd name="connsiteY3" fmla="*/ 0 h 3032701"/>
              <a:gd name="connsiteX0" fmla="*/ 0 w 1179187"/>
              <a:gd name="connsiteY0" fmla="*/ 0 h 3029170"/>
              <a:gd name="connsiteX1" fmla="*/ 494269 w 1179187"/>
              <a:gd name="connsiteY1" fmla="*/ 3029170 h 3029170"/>
              <a:gd name="connsiteX2" fmla="*/ 1179187 w 1179187"/>
              <a:gd name="connsiteY2" fmla="*/ 511922 h 3029170"/>
              <a:gd name="connsiteX3" fmla="*/ 0 w 1179187"/>
              <a:gd name="connsiteY3" fmla="*/ 0 h 3029170"/>
              <a:gd name="connsiteX0" fmla="*/ 0 w 1179187"/>
              <a:gd name="connsiteY0" fmla="*/ 0 h 3039761"/>
              <a:gd name="connsiteX1" fmla="*/ 483677 w 1179187"/>
              <a:gd name="connsiteY1" fmla="*/ 3039761 h 3039761"/>
              <a:gd name="connsiteX2" fmla="*/ 1179187 w 1179187"/>
              <a:gd name="connsiteY2" fmla="*/ 511922 h 3039761"/>
              <a:gd name="connsiteX3" fmla="*/ 0 w 1179187"/>
              <a:gd name="connsiteY3" fmla="*/ 0 h 3039761"/>
              <a:gd name="connsiteX0" fmla="*/ 0 w 1190407"/>
              <a:gd name="connsiteY0" fmla="*/ 0 h 3039761"/>
              <a:gd name="connsiteX1" fmla="*/ 494897 w 1190407"/>
              <a:gd name="connsiteY1" fmla="*/ 3039761 h 3039761"/>
              <a:gd name="connsiteX2" fmla="*/ 1190407 w 1190407"/>
              <a:gd name="connsiteY2" fmla="*/ 511922 h 3039761"/>
              <a:gd name="connsiteX3" fmla="*/ 0 w 1190407"/>
              <a:gd name="connsiteY3" fmla="*/ 0 h 3039761"/>
              <a:gd name="connsiteX0" fmla="*/ 0 w 1203107"/>
              <a:gd name="connsiteY0" fmla="*/ 0 h 3065161"/>
              <a:gd name="connsiteX1" fmla="*/ 507597 w 1203107"/>
              <a:gd name="connsiteY1" fmla="*/ 3065161 h 3065161"/>
              <a:gd name="connsiteX2" fmla="*/ 1203107 w 1203107"/>
              <a:gd name="connsiteY2" fmla="*/ 537322 h 3065161"/>
              <a:gd name="connsiteX3" fmla="*/ 0 w 1203107"/>
              <a:gd name="connsiteY3" fmla="*/ 0 h 3065161"/>
              <a:gd name="connsiteX0" fmla="*/ 0 w 1209457"/>
              <a:gd name="connsiteY0" fmla="*/ 0 h 3065161"/>
              <a:gd name="connsiteX1" fmla="*/ 507597 w 1209457"/>
              <a:gd name="connsiteY1" fmla="*/ 3065161 h 3065161"/>
              <a:gd name="connsiteX2" fmla="*/ 1209457 w 1209457"/>
              <a:gd name="connsiteY2" fmla="*/ 543672 h 3065161"/>
              <a:gd name="connsiteX3" fmla="*/ 0 w 1209457"/>
              <a:gd name="connsiteY3" fmla="*/ 0 h 3065161"/>
              <a:gd name="connsiteX0" fmla="*/ 0 w 1215807"/>
              <a:gd name="connsiteY0" fmla="*/ 0 h 3065161"/>
              <a:gd name="connsiteX1" fmla="*/ 507597 w 1215807"/>
              <a:gd name="connsiteY1" fmla="*/ 3065161 h 3065161"/>
              <a:gd name="connsiteX2" fmla="*/ 1215807 w 1215807"/>
              <a:gd name="connsiteY2" fmla="*/ 537322 h 3065161"/>
              <a:gd name="connsiteX3" fmla="*/ 0 w 1215807"/>
              <a:gd name="connsiteY3" fmla="*/ 0 h 3065161"/>
              <a:gd name="connsiteX0" fmla="*/ 0 w 1209457"/>
              <a:gd name="connsiteY0" fmla="*/ 0 h 3077861"/>
              <a:gd name="connsiteX1" fmla="*/ 501247 w 1209457"/>
              <a:gd name="connsiteY1" fmla="*/ 3077861 h 3077861"/>
              <a:gd name="connsiteX2" fmla="*/ 1209457 w 1209457"/>
              <a:gd name="connsiteY2" fmla="*/ 550022 h 3077861"/>
              <a:gd name="connsiteX3" fmla="*/ 0 w 1209457"/>
              <a:gd name="connsiteY3" fmla="*/ 0 h 3077861"/>
              <a:gd name="connsiteX0" fmla="*/ 0 w 1209457"/>
              <a:gd name="connsiteY0" fmla="*/ 0 h 3091509"/>
              <a:gd name="connsiteX1" fmla="*/ 501247 w 1209457"/>
              <a:gd name="connsiteY1" fmla="*/ 3091509 h 3091509"/>
              <a:gd name="connsiteX2" fmla="*/ 1209457 w 1209457"/>
              <a:gd name="connsiteY2" fmla="*/ 550022 h 3091509"/>
              <a:gd name="connsiteX3" fmla="*/ 0 w 1209457"/>
              <a:gd name="connsiteY3" fmla="*/ 0 h 3091509"/>
            </a:gdLst>
            <a:ahLst/>
            <a:cxnLst>
              <a:cxn ang="0">
                <a:pos x="connsiteX0" y="connsiteY0"/>
              </a:cxn>
              <a:cxn ang="0">
                <a:pos x="connsiteX1" y="connsiteY1"/>
              </a:cxn>
              <a:cxn ang="0">
                <a:pos x="connsiteX2" y="connsiteY2"/>
              </a:cxn>
              <a:cxn ang="0">
                <a:pos x="connsiteX3" y="connsiteY3"/>
              </a:cxn>
            </a:cxnLst>
            <a:rect l="l" t="t" r="r" b="b"/>
            <a:pathLst>
              <a:path w="1209457" h="3091509">
                <a:moveTo>
                  <a:pt x="0" y="0"/>
                </a:moveTo>
                <a:lnTo>
                  <a:pt x="501247" y="3091509"/>
                </a:lnTo>
                <a:lnTo>
                  <a:pt x="1209457" y="550022"/>
                </a:lnTo>
                <a:lnTo>
                  <a:pt x="0" y="0"/>
                </a:lnTo>
                <a:close/>
              </a:path>
            </a:pathLst>
          </a:custGeom>
          <a:gradFill>
            <a:gsLst>
              <a:gs pos="34000">
                <a:schemeClr val="accent2"/>
              </a:gs>
              <a:gs pos="100000">
                <a:schemeClr val="accent1"/>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7" name="Freeform 26"/>
          <p:cNvSpPr/>
          <p:nvPr userDrawn="1"/>
        </p:nvSpPr>
        <p:spPr>
          <a:xfrm>
            <a:off x="11488254" y="4321334"/>
            <a:ext cx="708319" cy="2552078"/>
          </a:xfrm>
          <a:custGeom>
            <a:avLst/>
            <a:gdLst>
              <a:gd name="connsiteX0" fmla="*/ 691978 w 697728"/>
              <a:gd name="connsiteY0" fmla="*/ 0 h 2520778"/>
              <a:gd name="connsiteX1" fmla="*/ 0 w 697728"/>
              <a:gd name="connsiteY1" fmla="*/ 2520778 h 2520778"/>
              <a:gd name="connsiteX2" fmla="*/ 695509 w 697728"/>
              <a:gd name="connsiteY2" fmla="*/ 2517248 h 2520778"/>
              <a:gd name="connsiteX3" fmla="*/ 691978 w 697728"/>
              <a:gd name="connsiteY3" fmla="*/ 0 h 2520778"/>
              <a:gd name="connsiteX0" fmla="*/ 691978 w 697728"/>
              <a:gd name="connsiteY0" fmla="*/ 0 h 2531370"/>
              <a:gd name="connsiteX1" fmla="*/ 0 w 697728"/>
              <a:gd name="connsiteY1" fmla="*/ 2531370 h 2531370"/>
              <a:gd name="connsiteX2" fmla="*/ 695509 w 697728"/>
              <a:gd name="connsiteY2" fmla="*/ 2517248 h 2531370"/>
              <a:gd name="connsiteX3" fmla="*/ 691978 w 697728"/>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9039 w 704789"/>
              <a:gd name="connsiteY0" fmla="*/ 0 h 2541962"/>
              <a:gd name="connsiteX1" fmla="*/ 0 w 704789"/>
              <a:gd name="connsiteY1" fmla="*/ 2541962 h 2541962"/>
              <a:gd name="connsiteX2" fmla="*/ 702570 w 704789"/>
              <a:gd name="connsiteY2" fmla="*/ 2538431 h 2541962"/>
              <a:gd name="connsiteX3" fmla="*/ 699039 w 704789"/>
              <a:gd name="connsiteY3" fmla="*/ 0 h 2541962"/>
              <a:gd name="connsiteX0" fmla="*/ 702569 w 708319"/>
              <a:gd name="connsiteY0" fmla="*/ 0 h 2538431"/>
              <a:gd name="connsiteX1" fmla="*/ 0 w 708319"/>
              <a:gd name="connsiteY1" fmla="*/ 2538431 h 2538431"/>
              <a:gd name="connsiteX2" fmla="*/ 706100 w 708319"/>
              <a:gd name="connsiteY2" fmla="*/ 2538431 h 2538431"/>
              <a:gd name="connsiteX3" fmla="*/ 702569 w 708319"/>
              <a:gd name="connsiteY3" fmla="*/ 0 h 2538431"/>
              <a:gd name="connsiteX0" fmla="*/ 667264 w 673014"/>
              <a:gd name="connsiteY0" fmla="*/ 0 h 2538431"/>
              <a:gd name="connsiteX1" fmla="*/ 0 w 673014"/>
              <a:gd name="connsiteY1" fmla="*/ 2252460 h 2538431"/>
              <a:gd name="connsiteX2" fmla="*/ 670795 w 673014"/>
              <a:gd name="connsiteY2" fmla="*/ 2538431 h 2538431"/>
              <a:gd name="connsiteX3" fmla="*/ 667264 w 673014"/>
              <a:gd name="connsiteY3" fmla="*/ 0 h 2538431"/>
              <a:gd name="connsiteX0" fmla="*/ 702569 w 708319"/>
              <a:gd name="connsiteY0" fmla="*/ 0 h 2541961"/>
              <a:gd name="connsiteX1" fmla="*/ 0 w 708319"/>
              <a:gd name="connsiteY1" fmla="*/ 2541961 h 2541961"/>
              <a:gd name="connsiteX2" fmla="*/ 706100 w 708319"/>
              <a:gd name="connsiteY2" fmla="*/ 2538431 h 2541961"/>
              <a:gd name="connsiteX3" fmla="*/ 702569 w 708319"/>
              <a:gd name="connsiteY3" fmla="*/ 0 h 2541961"/>
              <a:gd name="connsiteX0" fmla="*/ 702569 w 708319"/>
              <a:gd name="connsiteY0" fmla="*/ 0 h 2538431"/>
              <a:gd name="connsiteX1" fmla="*/ 0 w 708319"/>
              <a:gd name="connsiteY1" fmla="*/ 2534900 h 2538431"/>
              <a:gd name="connsiteX2" fmla="*/ 706100 w 708319"/>
              <a:gd name="connsiteY2" fmla="*/ 2538431 h 2538431"/>
              <a:gd name="connsiteX3" fmla="*/ 702569 w 708319"/>
              <a:gd name="connsiteY3" fmla="*/ 0 h 2538431"/>
              <a:gd name="connsiteX0" fmla="*/ 702569 w 708319"/>
              <a:gd name="connsiteY0" fmla="*/ 0 h 2548548"/>
              <a:gd name="connsiteX1" fmla="*/ 0 w 708319"/>
              <a:gd name="connsiteY1" fmla="*/ 2548548 h 2548548"/>
              <a:gd name="connsiteX2" fmla="*/ 706100 w 708319"/>
              <a:gd name="connsiteY2" fmla="*/ 2538431 h 2548548"/>
              <a:gd name="connsiteX3" fmla="*/ 702569 w 708319"/>
              <a:gd name="connsiteY3" fmla="*/ 0 h 2548548"/>
              <a:gd name="connsiteX0" fmla="*/ 702569 w 704906"/>
              <a:gd name="connsiteY0" fmla="*/ 0 h 2548548"/>
              <a:gd name="connsiteX1" fmla="*/ 0 w 704906"/>
              <a:gd name="connsiteY1" fmla="*/ 2548548 h 2548548"/>
              <a:gd name="connsiteX2" fmla="*/ 692452 w 704906"/>
              <a:gd name="connsiteY2" fmla="*/ 2538431 h 2548548"/>
              <a:gd name="connsiteX3" fmla="*/ 702569 w 704906"/>
              <a:gd name="connsiteY3" fmla="*/ 0 h 2548548"/>
              <a:gd name="connsiteX0" fmla="*/ 702569 w 708319"/>
              <a:gd name="connsiteY0" fmla="*/ 0 h 2565726"/>
              <a:gd name="connsiteX1" fmla="*/ 0 w 708319"/>
              <a:gd name="connsiteY1" fmla="*/ 2548548 h 2565726"/>
              <a:gd name="connsiteX2" fmla="*/ 706100 w 708319"/>
              <a:gd name="connsiteY2" fmla="*/ 2565726 h 2565726"/>
              <a:gd name="connsiteX3" fmla="*/ 702569 w 708319"/>
              <a:gd name="connsiteY3" fmla="*/ 0 h 2565726"/>
              <a:gd name="connsiteX0" fmla="*/ 702569 w 708319"/>
              <a:gd name="connsiteY0" fmla="*/ 0 h 2552078"/>
              <a:gd name="connsiteX1" fmla="*/ 0 w 708319"/>
              <a:gd name="connsiteY1" fmla="*/ 2548548 h 2552078"/>
              <a:gd name="connsiteX2" fmla="*/ 706100 w 708319"/>
              <a:gd name="connsiteY2" fmla="*/ 2552078 h 2552078"/>
              <a:gd name="connsiteX3" fmla="*/ 702569 w 708319"/>
              <a:gd name="connsiteY3" fmla="*/ 0 h 2552078"/>
            </a:gdLst>
            <a:ahLst/>
            <a:cxnLst>
              <a:cxn ang="0">
                <a:pos x="connsiteX0" y="connsiteY0"/>
              </a:cxn>
              <a:cxn ang="0">
                <a:pos x="connsiteX1" y="connsiteY1"/>
              </a:cxn>
              <a:cxn ang="0">
                <a:pos x="connsiteX2" y="connsiteY2"/>
              </a:cxn>
              <a:cxn ang="0">
                <a:pos x="connsiteX3" y="connsiteY3"/>
              </a:cxn>
            </a:cxnLst>
            <a:rect l="l" t="t" r="r" b="b"/>
            <a:pathLst>
              <a:path w="708319" h="2552078">
                <a:moveTo>
                  <a:pt x="702569" y="0"/>
                </a:moveTo>
                <a:lnTo>
                  <a:pt x="0" y="2548548"/>
                </a:lnTo>
                <a:lnTo>
                  <a:pt x="706100" y="2552078"/>
                </a:lnTo>
                <a:cubicBezTo>
                  <a:pt x="708454" y="1710642"/>
                  <a:pt x="710807" y="834375"/>
                  <a:pt x="702569" y="0"/>
                </a:cubicBezTo>
                <a:close/>
              </a:path>
            </a:pathLst>
          </a:custGeom>
          <a:gradFill>
            <a:gsLst>
              <a:gs pos="21000">
                <a:schemeClr val="accent2"/>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8" name="Freeform 27"/>
          <p:cNvSpPr/>
          <p:nvPr userDrawn="1"/>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9" name="Freeform 28"/>
          <p:cNvSpPr/>
          <p:nvPr userDrawn="1"/>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0" name="Freeform 29"/>
          <p:cNvSpPr/>
          <p:nvPr userDrawn="1"/>
        </p:nvSpPr>
        <p:spPr>
          <a:xfrm>
            <a:off x="-2381" y="-1"/>
            <a:ext cx="3112998" cy="178606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 name="connsiteX0" fmla="*/ 0 w 3081965"/>
              <a:gd name="connsiteY0" fmla="*/ 0 h 1775900"/>
              <a:gd name="connsiteX1" fmla="*/ 1036790 w 3081965"/>
              <a:gd name="connsiteY1" fmla="*/ 1773715 h 1775900"/>
              <a:gd name="connsiteX2" fmla="*/ 3081965 w 3081965"/>
              <a:gd name="connsiteY2" fmla="*/ 1775900 h 1775900"/>
              <a:gd name="connsiteX3" fmla="*/ 0 w 3081965"/>
              <a:gd name="connsiteY3" fmla="*/ 0 h 1775900"/>
              <a:gd name="connsiteX0" fmla="*/ 0 w 3086728"/>
              <a:gd name="connsiteY0" fmla="*/ 0 h 1775900"/>
              <a:gd name="connsiteX1" fmla="*/ 1036790 w 3086728"/>
              <a:gd name="connsiteY1" fmla="*/ 1773715 h 1775900"/>
              <a:gd name="connsiteX2" fmla="*/ 3086728 w 3086728"/>
              <a:gd name="connsiteY2" fmla="*/ 1775900 h 1775900"/>
              <a:gd name="connsiteX3" fmla="*/ 0 w 3086728"/>
              <a:gd name="connsiteY3" fmla="*/ 0 h 1775900"/>
              <a:gd name="connsiteX0" fmla="*/ 0 w 3091491"/>
              <a:gd name="connsiteY0" fmla="*/ 0 h 1799713"/>
              <a:gd name="connsiteX1" fmla="*/ 1036790 w 3091491"/>
              <a:gd name="connsiteY1" fmla="*/ 1773715 h 1799713"/>
              <a:gd name="connsiteX2" fmla="*/ 3091491 w 3091491"/>
              <a:gd name="connsiteY2" fmla="*/ 1799713 h 1799713"/>
              <a:gd name="connsiteX3" fmla="*/ 0 w 3091491"/>
              <a:gd name="connsiteY3" fmla="*/ 0 h 1799713"/>
              <a:gd name="connsiteX0" fmla="*/ 0 w 3120066"/>
              <a:gd name="connsiteY0" fmla="*/ 0 h 1799713"/>
              <a:gd name="connsiteX1" fmla="*/ 1036790 w 3120066"/>
              <a:gd name="connsiteY1" fmla="*/ 1773715 h 1799713"/>
              <a:gd name="connsiteX2" fmla="*/ 3120066 w 3120066"/>
              <a:gd name="connsiteY2" fmla="*/ 1799713 h 1799713"/>
              <a:gd name="connsiteX3" fmla="*/ 0 w 3120066"/>
              <a:gd name="connsiteY3" fmla="*/ 0 h 1799713"/>
              <a:gd name="connsiteX0" fmla="*/ 0 w 3120066"/>
              <a:gd name="connsiteY0" fmla="*/ 0 h 1799713"/>
              <a:gd name="connsiteX1" fmla="*/ 1019730 w 3120066"/>
              <a:gd name="connsiteY1" fmla="*/ 1773715 h 1799713"/>
              <a:gd name="connsiteX2" fmla="*/ 3120066 w 3120066"/>
              <a:gd name="connsiteY2" fmla="*/ 1799713 h 1799713"/>
              <a:gd name="connsiteX3" fmla="*/ 0 w 3120066"/>
              <a:gd name="connsiteY3" fmla="*/ 0 h 1799713"/>
              <a:gd name="connsiteX0" fmla="*/ 0 w 3133714"/>
              <a:gd name="connsiteY0" fmla="*/ 0 h 1799713"/>
              <a:gd name="connsiteX1" fmla="*/ 1033378 w 3133714"/>
              <a:gd name="connsiteY1" fmla="*/ 1773715 h 1799713"/>
              <a:gd name="connsiteX2" fmla="*/ 3133714 w 3133714"/>
              <a:gd name="connsiteY2" fmla="*/ 1799713 h 1799713"/>
              <a:gd name="connsiteX3" fmla="*/ 0 w 3133714"/>
              <a:gd name="connsiteY3" fmla="*/ 0 h 1799713"/>
              <a:gd name="connsiteX0" fmla="*/ 0 w 3140538"/>
              <a:gd name="connsiteY0" fmla="*/ 0 h 1799713"/>
              <a:gd name="connsiteX1" fmla="*/ 1040202 w 3140538"/>
              <a:gd name="connsiteY1" fmla="*/ 1773715 h 1799713"/>
              <a:gd name="connsiteX2" fmla="*/ 3140538 w 3140538"/>
              <a:gd name="connsiteY2" fmla="*/ 1799713 h 1799713"/>
              <a:gd name="connsiteX3" fmla="*/ 0 w 3140538"/>
              <a:gd name="connsiteY3" fmla="*/ 0 h 1799713"/>
              <a:gd name="connsiteX0" fmla="*/ 0 w 3126890"/>
              <a:gd name="connsiteY0" fmla="*/ 0 h 1786065"/>
              <a:gd name="connsiteX1" fmla="*/ 1040202 w 3126890"/>
              <a:gd name="connsiteY1" fmla="*/ 1773715 h 1786065"/>
              <a:gd name="connsiteX2" fmla="*/ 3126890 w 3126890"/>
              <a:gd name="connsiteY2" fmla="*/ 1786065 h 1786065"/>
              <a:gd name="connsiteX3" fmla="*/ 0 w 3126890"/>
              <a:gd name="connsiteY3" fmla="*/ 0 h 1786065"/>
              <a:gd name="connsiteX0" fmla="*/ 0 w 3113242"/>
              <a:gd name="connsiteY0" fmla="*/ 0 h 1782653"/>
              <a:gd name="connsiteX1" fmla="*/ 1026554 w 3113242"/>
              <a:gd name="connsiteY1" fmla="*/ 1770303 h 1782653"/>
              <a:gd name="connsiteX2" fmla="*/ 3113242 w 3113242"/>
              <a:gd name="connsiteY2" fmla="*/ 1782653 h 1782653"/>
              <a:gd name="connsiteX3" fmla="*/ 0 w 3113242"/>
              <a:gd name="connsiteY3" fmla="*/ 0 h 1782653"/>
              <a:gd name="connsiteX0" fmla="*/ 0 w 3123478"/>
              <a:gd name="connsiteY0" fmla="*/ 0 h 1782653"/>
              <a:gd name="connsiteX1" fmla="*/ 1036790 w 3123478"/>
              <a:gd name="connsiteY1" fmla="*/ 1770303 h 1782653"/>
              <a:gd name="connsiteX2" fmla="*/ 3123478 w 3123478"/>
              <a:gd name="connsiteY2" fmla="*/ 1782653 h 1782653"/>
              <a:gd name="connsiteX3" fmla="*/ 0 w 3123478"/>
              <a:gd name="connsiteY3" fmla="*/ 0 h 1782653"/>
              <a:gd name="connsiteX0" fmla="*/ 0 w 3109830"/>
              <a:gd name="connsiteY0" fmla="*/ 0 h 1782653"/>
              <a:gd name="connsiteX1" fmla="*/ 1036790 w 3109830"/>
              <a:gd name="connsiteY1" fmla="*/ 1770303 h 1782653"/>
              <a:gd name="connsiteX2" fmla="*/ 3109830 w 3109830"/>
              <a:gd name="connsiteY2" fmla="*/ 1782653 h 1782653"/>
              <a:gd name="connsiteX3" fmla="*/ 0 w 3109830"/>
              <a:gd name="connsiteY3" fmla="*/ 0 h 1782653"/>
              <a:gd name="connsiteX0" fmla="*/ 0 w 3120462"/>
              <a:gd name="connsiteY0" fmla="*/ 0 h 1793286"/>
              <a:gd name="connsiteX1" fmla="*/ 1047422 w 3120462"/>
              <a:gd name="connsiteY1" fmla="*/ 1780936 h 1793286"/>
              <a:gd name="connsiteX2" fmla="*/ 3120462 w 3120462"/>
              <a:gd name="connsiteY2" fmla="*/ 1793286 h 1793286"/>
              <a:gd name="connsiteX3" fmla="*/ 0 w 3120462"/>
              <a:gd name="connsiteY3" fmla="*/ 0 h 1793286"/>
            </a:gdLst>
            <a:ahLst/>
            <a:cxnLst>
              <a:cxn ang="0">
                <a:pos x="connsiteX0" y="connsiteY0"/>
              </a:cxn>
              <a:cxn ang="0">
                <a:pos x="connsiteX1" y="connsiteY1"/>
              </a:cxn>
              <a:cxn ang="0">
                <a:pos x="connsiteX2" y="connsiteY2"/>
              </a:cxn>
              <a:cxn ang="0">
                <a:pos x="connsiteX3" y="connsiteY3"/>
              </a:cxn>
            </a:cxnLst>
            <a:rect l="l" t="t" r="r" b="b"/>
            <a:pathLst>
              <a:path w="3120462" h="1793286">
                <a:moveTo>
                  <a:pt x="0" y="0"/>
                </a:moveTo>
                <a:lnTo>
                  <a:pt x="1047422" y="1780936"/>
                </a:lnTo>
                <a:lnTo>
                  <a:pt x="3120462" y="1793286"/>
                </a:lnTo>
                <a:lnTo>
                  <a:pt x="0" y="0"/>
                </a:lnTo>
                <a:close/>
              </a:path>
            </a:pathLst>
          </a:custGeom>
          <a:gradFill>
            <a:gsLst>
              <a:gs pos="19000">
                <a:schemeClr val="accent2"/>
              </a:gs>
              <a:gs pos="9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1" name="Freeform 30"/>
          <p:cNvSpPr/>
          <p:nvPr userDrawn="1"/>
        </p:nvSpPr>
        <p:spPr>
          <a:xfrm>
            <a:off x="-3295" y="1769807"/>
            <a:ext cx="1407341" cy="5098422"/>
          </a:xfrm>
          <a:custGeom>
            <a:avLst/>
            <a:gdLst>
              <a:gd name="connsiteX0" fmla="*/ 1026488 w 1398147"/>
              <a:gd name="connsiteY0" fmla="*/ 0 h 5073445"/>
              <a:gd name="connsiteX1" fmla="*/ 1398147 w 1398147"/>
              <a:gd name="connsiteY1" fmla="*/ 1875995 h 5073445"/>
              <a:gd name="connsiteX2" fmla="*/ 0 w 1398147"/>
              <a:gd name="connsiteY2" fmla="*/ 5073445 h 5073445"/>
              <a:gd name="connsiteX3" fmla="*/ 1026488 w 1398147"/>
              <a:gd name="connsiteY3" fmla="*/ 0 h 5073445"/>
              <a:gd name="connsiteX0" fmla="*/ 1032388 w 1398147"/>
              <a:gd name="connsiteY0" fmla="*/ 0 h 5055747"/>
              <a:gd name="connsiteX1" fmla="*/ 1398147 w 1398147"/>
              <a:gd name="connsiteY1" fmla="*/ 1858297 h 5055747"/>
              <a:gd name="connsiteX2" fmla="*/ 0 w 1398147"/>
              <a:gd name="connsiteY2" fmla="*/ 5055747 h 5055747"/>
              <a:gd name="connsiteX3" fmla="*/ 1032388 w 1398147"/>
              <a:gd name="connsiteY3" fmla="*/ 0 h 5055747"/>
              <a:gd name="connsiteX0" fmla="*/ 1032388 w 1398147"/>
              <a:gd name="connsiteY0" fmla="*/ 0 h 5061646"/>
              <a:gd name="connsiteX1" fmla="*/ 1398147 w 1398147"/>
              <a:gd name="connsiteY1" fmla="*/ 1864196 h 5061646"/>
              <a:gd name="connsiteX2" fmla="*/ 0 w 1398147"/>
              <a:gd name="connsiteY2" fmla="*/ 5061646 h 5061646"/>
              <a:gd name="connsiteX3" fmla="*/ 1032388 w 1398147"/>
              <a:gd name="connsiteY3" fmla="*/ 0 h 5061646"/>
              <a:gd name="connsiteX0" fmla="*/ 1032388 w 1398147"/>
              <a:gd name="connsiteY0" fmla="*/ 0 h 5079344"/>
              <a:gd name="connsiteX1" fmla="*/ 1398147 w 1398147"/>
              <a:gd name="connsiteY1" fmla="*/ 1881894 h 5079344"/>
              <a:gd name="connsiteX2" fmla="*/ 0 w 1398147"/>
              <a:gd name="connsiteY2" fmla="*/ 5079344 h 5079344"/>
              <a:gd name="connsiteX3" fmla="*/ 1032388 w 1398147"/>
              <a:gd name="connsiteY3" fmla="*/ 0 h 5079344"/>
              <a:gd name="connsiteX0" fmla="*/ 1032388 w 1398147"/>
              <a:gd name="connsiteY0" fmla="*/ 0 h 5089936"/>
              <a:gd name="connsiteX1" fmla="*/ 1398147 w 1398147"/>
              <a:gd name="connsiteY1" fmla="*/ 1881894 h 5089936"/>
              <a:gd name="connsiteX2" fmla="*/ 0 w 1398147"/>
              <a:gd name="connsiteY2" fmla="*/ 5089936 h 5089936"/>
              <a:gd name="connsiteX3" fmla="*/ 1032388 w 1398147"/>
              <a:gd name="connsiteY3" fmla="*/ 0 h 5089936"/>
              <a:gd name="connsiteX0" fmla="*/ 1039450 w 1405209"/>
              <a:gd name="connsiteY0" fmla="*/ 0 h 5089936"/>
              <a:gd name="connsiteX1" fmla="*/ 1405209 w 1405209"/>
              <a:gd name="connsiteY1" fmla="*/ 1881894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8890 w 1405209"/>
              <a:gd name="connsiteY3" fmla="*/ 5081754 h 5089936"/>
              <a:gd name="connsiteX4" fmla="*/ 1039450 w 1405209"/>
              <a:gd name="connsiteY4" fmla="*/ 0 h 5089936"/>
              <a:gd name="connsiteX0" fmla="*/ 1041582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41582 w 1407341"/>
              <a:gd name="connsiteY4" fmla="*/ 0 h 5098422"/>
              <a:gd name="connsiteX0" fmla="*/ 1034758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34758 w 1407341"/>
              <a:gd name="connsiteY4" fmla="*/ 0 h 509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341" h="5098422">
                <a:moveTo>
                  <a:pt x="1034758" y="0"/>
                </a:moveTo>
                <a:lnTo>
                  <a:pt x="1407341" y="1891419"/>
                </a:lnTo>
                <a:lnTo>
                  <a:pt x="2132" y="5089936"/>
                </a:lnTo>
                <a:cubicBezTo>
                  <a:pt x="5095" y="5083774"/>
                  <a:pt x="-2244" y="5103370"/>
                  <a:pt x="719" y="5097208"/>
                </a:cubicBezTo>
                <a:lnTo>
                  <a:pt x="1034758" y="0"/>
                </a:lnTo>
                <a:close/>
              </a:path>
            </a:pathLst>
          </a:custGeom>
          <a:gradFill>
            <a:gsLst>
              <a:gs pos="15000">
                <a:schemeClr val="accent2"/>
              </a:gs>
              <a:gs pos="76000">
                <a:schemeClr val="accent1"/>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2" name="Freeform 31"/>
          <p:cNvSpPr/>
          <p:nvPr userDrawn="1"/>
        </p:nvSpPr>
        <p:spPr>
          <a:xfrm>
            <a:off x="8694845" y="2426110"/>
            <a:ext cx="2293341" cy="4440419"/>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 name="connsiteX0" fmla="*/ 958645 w 2269487"/>
              <a:gd name="connsiteY0" fmla="*/ 0 h 4424516"/>
              <a:gd name="connsiteX1" fmla="*/ 2269487 w 2269487"/>
              <a:gd name="connsiteY1" fmla="*/ 1388112 h 4424516"/>
              <a:gd name="connsiteX2" fmla="*/ 0 w 2269487"/>
              <a:gd name="connsiteY2" fmla="*/ 4424516 h 4424516"/>
              <a:gd name="connsiteX3" fmla="*/ 958645 w 2269487"/>
              <a:gd name="connsiteY3" fmla="*/ 0 h 4424516"/>
              <a:gd name="connsiteX0" fmla="*/ 982499 w 2293341"/>
              <a:gd name="connsiteY0" fmla="*/ 0 h 4440419"/>
              <a:gd name="connsiteX1" fmla="*/ 2293341 w 2293341"/>
              <a:gd name="connsiteY1" fmla="*/ 1388112 h 4440419"/>
              <a:gd name="connsiteX2" fmla="*/ 0 w 2293341"/>
              <a:gd name="connsiteY2" fmla="*/ 4440419 h 4440419"/>
              <a:gd name="connsiteX3" fmla="*/ 982499 w 2293341"/>
              <a:gd name="connsiteY3" fmla="*/ 0 h 4440419"/>
            </a:gdLst>
            <a:ahLst/>
            <a:cxnLst>
              <a:cxn ang="0">
                <a:pos x="connsiteX0" y="connsiteY0"/>
              </a:cxn>
              <a:cxn ang="0">
                <a:pos x="connsiteX1" y="connsiteY1"/>
              </a:cxn>
              <a:cxn ang="0">
                <a:pos x="connsiteX2" y="connsiteY2"/>
              </a:cxn>
              <a:cxn ang="0">
                <a:pos x="connsiteX3" y="connsiteY3"/>
              </a:cxn>
            </a:cxnLst>
            <a:rect l="l" t="t" r="r" b="b"/>
            <a:pathLst>
              <a:path w="2293341" h="4440419">
                <a:moveTo>
                  <a:pt x="982499" y="0"/>
                </a:moveTo>
                <a:lnTo>
                  <a:pt x="2293341" y="1388112"/>
                </a:lnTo>
                <a:lnTo>
                  <a:pt x="0" y="4440419"/>
                </a:lnTo>
                <a:lnTo>
                  <a:pt x="982499" y="0"/>
                </a:lnTo>
                <a:close/>
              </a:path>
            </a:pathLst>
          </a:custGeom>
          <a:gradFill>
            <a:gsLst>
              <a:gs pos="34000">
                <a:schemeClr val="accent2"/>
              </a:gs>
              <a:gs pos="100000">
                <a:schemeClr val="accent1"/>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3" name="Freeform 32"/>
          <p:cNvSpPr/>
          <p:nvPr userDrawn="1"/>
        </p:nvSpPr>
        <p:spPr>
          <a:xfrm>
            <a:off x="9669015" y="1094096"/>
            <a:ext cx="2522985" cy="2734954"/>
          </a:xfrm>
          <a:custGeom>
            <a:avLst/>
            <a:gdLst>
              <a:gd name="connsiteX0" fmla="*/ 2481262 w 2481262"/>
              <a:gd name="connsiteY0" fmla="*/ 0 h 2762250"/>
              <a:gd name="connsiteX1" fmla="*/ 0 w 2481262"/>
              <a:gd name="connsiteY1" fmla="*/ 1371600 h 2762250"/>
              <a:gd name="connsiteX2" fmla="*/ 1309687 w 2481262"/>
              <a:gd name="connsiteY2" fmla="*/ 2762250 h 2762250"/>
              <a:gd name="connsiteX3" fmla="*/ 2481262 w 2481262"/>
              <a:gd name="connsiteY3" fmla="*/ 0 h 2762250"/>
              <a:gd name="connsiteX0" fmla="*/ 2481262 w 2481262"/>
              <a:gd name="connsiteY0" fmla="*/ 0 h 2762250"/>
              <a:gd name="connsiteX1" fmla="*/ 0 w 2481262"/>
              <a:gd name="connsiteY1" fmla="*/ 1371600 h 2762250"/>
              <a:gd name="connsiteX2" fmla="*/ 1292857 w 2481262"/>
              <a:gd name="connsiteY2" fmla="*/ 2762250 h 2762250"/>
              <a:gd name="connsiteX3" fmla="*/ 2481262 w 2481262"/>
              <a:gd name="connsiteY3" fmla="*/ 0 h 2762250"/>
              <a:gd name="connsiteX0" fmla="*/ 2509311 w 2509311"/>
              <a:gd name="connsiteY0" fmla="*/ 0 h 2762250"/>
              <a:gd name="connsiteX1" fmla="*/ 0 w 2509311"/>
              <a:gd name="connsiteY1" fmla="*/ 1354771 h 2762250"/>
              <a:gd name="connsiteX2" fmla="*/ 1320906 w 2509311"/>
              <a:gd name="connsiteY2" fmla="*/ 2762250 h 2762250"/>
              <a:gd name="connsiteX3" fmla="*/ 2509311 w 2509311"/>
              <a:gd name="connsiteY3" fmla="*/ 0 h 2762250"/>
              <a:gd name="connsiteX0" fmla="*/ 2519943 w 2519943"/>
              <a:gd name="connsiteY0" fmla="*/ 0 h 2762250"/>
              <a:gd name="connsiteX1" fmla="*/ 0 w 2519943"/>
              <a:gd name="connsiteY1" fmla="*/ 1354771 h 2762250"/>
              <a:gd name="connsiteX2" fmla="*/ 1320906 w 2519943"/>
              <a:gd name="connsiteY2" fmla="*/ 2762250 h 2762250"/>
              <a:gd name="connsiteX3" fmla="*/ 2519943 w 2519943"/>
              <a:gd name="connsiteY3" fmla="*/ 0 h 2762250"/>
              <a:gd name="connsiteX0" fmla="*/ 2530575 w 2530575"/>
              <a:gd name="connsiteY0" fmla="*/ 0 h 2762250"/>
              <a:gd name="connsiteX1" fmla="*/ 0 w 2530575"/>
              <a:gd name="connsiteY1" fmla="*/ 1354771 h 2762250"/>
              <a:gd name="connsiteX2" fmla="*/ 1320906 w 2530575"/>
              <a:gd name="connsiteY2" fmla="*/ 2762250 h 2762250"/>
              <a:gd name="connsiteX3" fmla="*/ 2530575 w 2530575"/>
              <a:gd name="connsiteY3" fmla="*/ 0 h 2762250"/>
            </a:gdLst>
            <a:ahLst/>
            <a:cxnLst>
              <a:cxn ang="0">
                <a:pos x="connsiteX0" y="connsiteY0"/>
              </a:cxn>
              <a:cxn ang="0">
                <a:pos x="connsiteX1" y="connsiteY1"/>
              </a:cxn>
              <a:cxn ang="0">
                <a:pos x="connsiteX2" y="connsiteY2"/>
              </a:cxn>
              <a:cxn ang="0">
                <a:pos x="connsiteX3" y="connsiteY3"/>
              </a:cxn>
            </a:cxnLst>
            <a:rect l="l" t="t" r="r" b="b"/>
            <a:pathLst>
              <a:path w="2530575" h="2762250">
                <a:moveTo>
                  <a:pt x="2530575" y="0"/>
                </a:moveTo>
                <a:lnTo>
                  <a:pt x="0" y="1354771"/>
                </a:lnTo>
                <a:lnTo>
                  <a:pt x="1320906" y="2762250"/>
                </a:lnTo>
                <a:lnTo>
                  <a:pt x="2530575" y="0"/>
                </a:lnTo>
                <a:close/>
              </a:path>
            </a:pathLst>
          </a:custGeom>
          <a:gradFill>
            <a:gsLst>
              <a:gs pos="2100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4" name="Freeform 33"/>
          <p:cNvSpPr/>
          <p:nvPr userDrawn="1"/>
        </p:nvSpPr>
        <p:spPr>
          <a:xfrm>
            <a:off x="3317358" y="-5316"/>
            <a:ext cx="4354033" cy="1222744"/>
          </a:xfrm>
          <a:custGeom>
            <a:avLst/>
            <a:gdLst>
              <a:gd name="connsiteX0" fmla="*/ 0 w 4354033"/>
              <a:gd name="connsiteY0" fmla="*/ 0 h 1217428"/>
              <a:gd name="connsiteX1" fmla="*/ 3067493 w 4354033"/>
              <a:gd name="connsiteY1" fmla="*/ 10632 h 1217428"/>
              <a:gd name="connsiteX2" fmla="*/ 4354033 w 4354033"/>
              <a:gd name="connsiteY2" fmla="*/ 1217428 h 1217428"/>
              <a:gd name="connsiteX3" fmla="*/ 0 w 4354033"/>
              <a:gd name="connsiteY3" fmla="*/ 0 h 1217428"/>
              <a:gd name="connsiteX0" fmla="*/ 0 w 4354033"/>
              <a:gd name="connsiteY0" fmla="*/ 0 h 1217428"/>
              <a:gd name="connsiteX1" fmla="*/ 3088758 w 4354033"/>
              <a:gd name="connsiteY1" fmla="*/ 10632 h 1217428"/>
              <a:gd name="connsiteX2" fmla="*/ 4354033 w 4354033"/>
              <a:gd name="connsiteY2" fmla="*/ 1217428 h 1217428"/>
              <a:gd name="connsiteX3" fmla="*/ 0 w 4354033"/>
              <a:gd name="connsiteY3" fmla="*/ 0 h 1217428"/>
              <a:gd name="connsiteX0" fmla="*/ 0 w 4375298"/>
              <a:gd name="connsiteY0" fmla="*/ 0 h 1217428"/>
              <a:gd name="connsiteX1" fmla="*/ 3088758 w 4375298"/>
              <a:gd name="connsiteY1" fmla="*/ 10632 h 1217428"/>
              <a:gd name="connsiteX2" fmla="*/ 4375298 w 4375298"/>
              <a:gd name="connsiteY2" fmla="*/ 1217428 h 1217428"/>
              <a:gd name="connsiteX3" fmla="*/ 0 w 4375298"/>
              <a:gd name="connsiteY3" fmla="*/ 0 h 1217428"/>
              <a:gd name="connsiteX0" fmla="*/ 0 w 4364666"/>
              <a:gd name="connsiteY0" fmla="*/ 0 h 1217428"/>
              <a:gd name="connsiteX1" fmla="*/ 3088758 w 4364666"/>
              <a:gd name="connsiteY1" fmla="*/ 10632 h 1217428"/>
              <a:gd name="connsiteX2" fmla="*/ 4364666 w 4364666"/>
              <a:gd name="connsiteY2" fmla="*/ 1217428 h 1217428"/>
              <a:gd name="connsiteX3" fmla="*/ 0 w 4364666"/>
              <a:gd name="connsiteY3" fmla="*/ 0 h 1217428"/>
              <a:gd name="connsiteX0" fmla="*/ 0 w 4354033"/>
              <a:gd name="connsiteY0" fmla="*/ 0 h 1222744"/>
              <a:gd name="connsiteX1" fmla="*/ 3088758 w 4354033"/>
              <a:gd name="connsiteY1" fmla="*/ 10632 h 1222744"/>
              <a:gd name="connsiteX2" fmla="*/ 4354033 w 4354033"/>
              <a:gd name="connsiteY2" fmla="*/ 1222744 h 1222744"/>
              <a:gd name="connsiteX3" fmla="*/ 0 w 4354033"/>
              <a:gd name="connsiteY3" fmla="*/ 0 h 1222744"/>
              <a:gd name="connsiteX0" fmla="*/ 0 w 4354033"/>
              <a:gd name="connsiteY0" fmla="*/ 5317 h 1228061"/>
              <a:gd name="connsiteX1" fmla="*/ 3083442 w 4354033"/>
              <a:gd name="connsiteY1" fmla="*/ 0 h 1228061"/>
              <a:gd name="connsiteX2" fmla="*/ 4354033 w 4354033"/>
              <a:gd name="connsiteY2" fmla="*/ 1228061 h 1228061"/>
              <a:gd name="connsiteX3" fmla="*/ 0 w 4354033"/>
              <a:gd name="connsiteY3" fmla="*/ 5317 h 1228061"/>
              <a:gd name="connsiteX0" fmla="*/ 0 w 4354033"/>
              <a:gd name="connsiteY0" fmla="*/ 0 h 1222744"/>
              <a:gd name="connsiteX1" fmla="*/ 3094074 w 4354033"/>
              <a:gd name="connsiteY1" fmla="*/ 5315 h 1222744"/>
              <a:gd name="connsiteX2" fmla="*/ 4354033 w 4354033"/>
              <a:gd name="connsiteY2" fmla="*/ 1222744 h 1222744"/>
              <a:gd name="connsiteX3" fmla="*/ 0 w 4354033"/>
              <a:gd name="connsiteY3" fmla="*/ 0 h 1222744"/>
            </a:gdLst>
            <a:ahLst/>
            <a:cxnLst>
              <a:cxn ang="0">
                <a:pos x="connsiteX0" y="connsiteY0"/>
              </a:cxn>
              <a:cxn ang="0">
                <a:pos x="connsiteX1" y="connsiteY1"/>
              </a:cxn>
              <a:cxn ang="0">
                <a:pos x="connsiteX2" y="connsiteY2"/>
              </a:cxn>
              <a:cxn ang="0">
                <a:pos x="connsiteX3" y="connsiteY3"/>
              </a:cxn>
            </a:cxnLst>
            <a:rect l="l" t="t" r="r" b="b"/>
            <a:pathLst>
              <a:path w="4354033" h="1222744">
                <a:moveTo>
                  <a:pt x="0" y="0"/>
                </a:moveTo>
                <a:lnTo>
                  <a:pt x="3094074" y="5315"/>
                </a:lnTo>
                <a:lnTo>
                  <a:pt x="4354033" y="1222744"/>
                </a:lnTo>
                <a:lnTo>
                  <a:pt x="0" y="0"/>
                </a:lnTo>
                <a:close/>
              </a:path>
            </a:pathLst>
          </a:custGeom>
          <a:gradFill>
            <a:gsLst>
              <a:gs pos="100000">
                <a:schemeClr val="accent2"/>
              </a:gs>
              <a:gs pos="4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5" name="Freeform 34"/>
          <p:cNvSpPr/>
          <p:nvPr userDrawn="1"/>
        </p:nvSpPr>
        <p:spPr>
          <a:xfrm>
            <a:off x="8690615" y="3783805"/>
            <a:ext cx="2797640" cy="3086077"/>
          </a:xfrm>
          <a:custGeom>
            <a:avLst/>
            <a:gdLst>
              <a:gd name="connsiteX0" fmla="*/ 2270113 w 2753791"/>
              <a:gd name="connsiteY0" fmla="*/ 0 h 3029171"/>
              <a:gd name="connsiteX1" fmla="*/ 0 w 2753791"/>
              <a:gd name="connsiteY1" fmla="*/ 3025640 h 3029171"/>
              <a:gd name="connsiteX2" fmla="*/ 2753791 w 2753791"/>
              <a:gd name="connsiteY2" fmla="*/ 3029171 h 3029171"/>
              <a:gd name="connsiteX3" fmla="*/ 2270113 w 2753791"/>
              <a:gd name="connsiteY3" fmla="*/ 0 h 3029171"/>
              <a:gd name="connsiteX0" fmla="*/ 2247810 w 2753791"/>
              <a:gd name="connsiteY0" fmla="*/ 0 h 3073776"/>
              <a:gd name="connsiteX1" fmla="*/ 0 w 2753791"/>
              <a:gd name="connsiteY1" fmla="*/ 3070245 h 3073776"/>
              <a:gd name="connsiteX2" fmla="*/ 2753791 w 2753791"/>
              <a:gd name="connsiteY2" fmla="*/ 3073776 h 3073776"/>
              <a:gd name="connsiteX3" fmla="*/ 2247810 w 2753791"/>
              <a:gd name="connsiteY3" fmla="*/ 0 h 3073776"/>
              <a:gd name="connsiteX0" fmla="*/ 2311420 w 2817401"/>
              <a:gd name="connsiteY0" fmla="*/ 0 h 3073776"/>
              <a:gd name="connsiteX1" fmla="*/ 0 w 2817401"/>
              <a:gd name="connsiteY1" fmla="*/ 3062294 h 3073776"/>
              <a:gd name="connsiteX2" fmla="*/ 2817401 w 2817401"/>
              <a:gd name="connsiteY2" fmla="*/ 3073776 h 3073776"/>
              <a:gd name="connsiteX3" fmla="*/ 2311420 w 2817401"/>
              <a:gd name="connsiteY3" fmla="*/ 0 h 3073776"/>
              <a:gd name="connsiteX0" fmla="*/ 2311420 w 2817401"/>
              <a:gd name="connsiteY0" fmla="*/ 0 h 3089589"/>
              <a:gd name="connsiteX1" fmla="*/ 0 w 2817401"/>
              <a:gd name="connsiteY1" fmla="*/ 3089589 h 3089589"/>
              <a:gd name="connsiteX2" fmla="*/ 2817401 w 2817401"/>
              <a:gd name="connsiteY2" fmla="*/ 3073776 h 3089589"/>
              <a:gd name="connsiteX3" fmla="*/ 2311420 w 2817401"/>
              <a:gd name="connsiteY3" fmla="*/ 0 h 3089589"/>
              <a:gd name="connsiteX0" fmla="*/ 2306657 w 2812638"/>
              <a:gd name="connsiteY0" fmla="*/ 0 h 3089589"/>
              <a:gd name="connsiteX1" fmla="*/ 0 w 2812638"/>
              <a:gd name="connsiteY1" fmla="*/ 3089589 h 3089589"/>
              <a:gd name="connsiteX2" fmla="*/ 2812638 w 2812638"/>
              <a:gd name="connsiteY2" fmla="*/ 3073776 h 3089589"/>
              <a:gd name="connsiteX3" fmla="*/ 2306657 w 2812638"/>
              <a:gd name="connsiteY3" fmla="*/ 0 h 3089589"/>
              <a:gd name="connsiteX0" fmla="*/ 2306657 w 2812638"/>
              <a:gd name="connsiteY0" fmla="*/ 0 h 3084826"/>
              <a:gd name="connsiteX1" fmla="*/ 0 w 2812638"/>
              <a:gd name="connsiteY1" fmla="*/ 3084826 h 3084826"/>
              <a:gd name="connsiteX2" fmla="*/ 2812638 w 2812638"/>
              <a:gd name="connsiteY2" fmla="*/ 3073776 h 3084826"/>
              <a:gd name="connsiteX3" fmla="*/ 2306657 w 2812638"/>
              <a:gd name="connsiteY3" fmla="*/ 0 h 3084826"/>
              <a:gd name="connsiteX0" fmla="*/ 2292370 w 2798351"/>
              <a:gd name="connsiteY0" fmla="*/ 0 h 3084826"/>
              <a:gd name="connsiteX1" fmla="*/ 0 w 2798351"/>
              <a:gd name="connsiteY1" fmla="*/ 3084826 h 3084826"/>
              <a:gd name="connsiteX2" fmla="*/ 2798351 w 2798351"/>
              <a:gd name="connsiteY2" fmla="*/ 3073776 h 3084826"/>
              <a:gd name="connsiteX3" fmla="*/ 2292370 w 279835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311420 w 2804701"/>
              <a:gd name="connsiteY0" fmla="*/ 0 h 3084826"/>
              <a:gd name="connsiteX1" fmla="*/ 0 w 2804701"/>
              <a:gd name="connsiteY1" fmla="*/ 3084826 h 3084826"/>
              <a:gd name="connsiteX2" fmla="*/ 2804701 w 2804701"/>
              <a:gd name="connsiteY2" fmla="*/ 3073776 h 3084826"/>
              <a:gd name="connsiteX3" fmla="*/ 2311420 w 2804701"/>
              <a:gd name="connsiteY3" fmla="*/ 0 h 3084826"/>
              <a:gd name="connsiteX0" fmla="*/ 2311420 w 2804701"/>
              <a:gd name="connsiteY0" fmla="*/ 0 h 3087424"/>
              <a:gd name="connsiteX1" fmla="*/ 0 w 2804701"/>
              <a:gd name="connsiteY1" fmla="*/ 3084826 h 3087424"/>
              <a:gd name="connsiteX2" fmla="*/ 2804701 w 2804701"/>
              <a:gd name="connsiteY2" fmla="*/ 3087424 h 3087424"/>
              <a:gd name="connsiteX3" fmla="*/ 2311420 w 2804701"/>
              <a:gd name="connsiteY3" fmla="*/ 0 h 3087424"/>
              <a:gd name="connsiteX0" fmla="*/ 2311420 w 2818349"/>
              <a:gd name="connsiteY0" fmla="*/ 0 h 3087424"/>
              <a:gd name="connsiteX1" fmla="*/ 0 w 2818349"/>
              <a:gd name="connsiteY1" fmla="*/ 3084826 h 3087424"/>
              <a:gd name="connsiteX2" fmla="*/ 2818349 w 2818349"/>
              <a:gd name="connsiteY2" fmla="*/ 3087424 h 3087424"/>
              <a:gd name="connsiteX3" fmla="*/ 2311420 w 2818349"/>
              <a:gd name="connsiteY3" fmla="*/ 0 h 3087424"/>
            </a:gdLst>
            <a:ahLst/>
            <a:cxnLst>
              <a:cxn ang="0">
                <a:pos x="connsiteX0" y="connsiteY0"/>
              </a:cxn>
              <a:cxn ang="0">
                <a:pos x="connsiteX1" y="connsiteY1"/>
              </a:cxn>
              <a:cxn ang="0">
                <a:pos x="connsiteX2" y="connsiteY2"/>
              </a:cxn>
              <a:cxn ang="0">
                <a:pos x="connsiteX3" y="connsiteY3"/>
              </a:cxn>
            </a:cxnLst>
            <a:rect l="l" t="t" r="r" b="b"/>
            <a:pathLst>
              <a:path w="2818349" h="3087424">
                <a:moveTo>
                  <a:pt x="2311420" y="0"/>
                </a:moveTo>
                <a:lnTo>
                  <a:pt x="0" y="3084826"/>
                </a:lnTo>
                <a:lnTo>
                  <a:pt x="2818349" y="3087424"/>
                </a:lnTo>
                <a:lnTo>
                  <a:pt x="2311420" y="0"/>
                </a:lnTo>
                <a:close/>
              </a:path>
            </a:pathLst>
          </a:custGeom>
          <a:gradFill>
            <a:gsLst>
              <a:gs pos="11000">
                <a:schemeClr val="accent2"/>
              </a:gs>
              <a:gs pos="78000">
                <a:schemeClr val="accent1"/>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6" name="Freeform 35"/>
          <p:cNvSpPr/>
          <p:nvPr userDrawn="1"/>
        </p:nvSpPr>
        <p:spPr>
          <a:xfrm>
            <a:off x="7660347" y="1094096"/>
            <a:ext cx="4531653" cy="1344304"/>
          </a:xfrm>
          <a:custGeom>
            <a:avLst/>
            <a:gdLst>
              <a:gd name="connsiteX0" fmla="*/ 0 w 4533900"/>
              <a:gd name="connsiteY0" fmla="*/ 142875 h 1371600"/>
              <a:gd name="connsiteX1" fmla="*/ 4533900 w 4533900"/>
              <a:gd name="connsiteY1" fmla="*/ 0 h 1371600"/>
              <a:gd name="connsiteX2" fmla="*/ 2043113 w 4533900"/>
              <a:gd name="connsiteY2" fmla="*/ 1371600 h 1371600"/>
              <a:gd name="connsiteX3" fmla="*/ 0 w 4533900"/>
              <a:gd name="connsiteY3" fmla="*/ 142875 h 1371600"/>
              <a:gd name="connsiteX0" fmla="*/ 0 w 4533900"/>
              <a:gd name="connsiteY0" fmla="*/ 142875 h 1371600"/>
              <a:gd name="connsiteX1" fmla="*/ 4533900 w 4533900"/>
              <a:gd name="connsiteY1" fmla="*/ 0 h 1371600"/>
              <a:gd name="connsiteX2" fmla="*/ 2021848 w 4533900"/>
              <a:gd name="connsiteY2" fmla="*/ 1371600 h 1371600"/>
              <a:gd name="connsiteX3" fmla="*/ 0 w 4533900"/>
              <a:gd name="connsiteY3" fmla="*/ 142875 h 1371600"/>
              <a:gd name="connsiteX0" fmla="*/ 0 w 4544532"/>
              <a:gd name="connsiteY0" fmla="*/ 153508 h 1371600"/>
              <a:gd name="connsiteX1" fmla="*/ 4544532 w 4544532"/>
              <a:gd name="connsiteY1" fmla="*/ 0 h 1371600"/>
              <a:gd name="connsiteX2" fmla="*/ 2032480 w 4544532"/>
              <a:gd name="connsiteY2" fmla="*/ 1371600 h 1371600"/>
              <a:gd name="connsiteX3" fmla="*/ 0 w 4544532"/>
              <a:gd name="connsiteY3" fmla="*/ 153508 h 1371600"/>
              <a:gd name="connsiteX0" fmla="*/ 0 w 4544532"/>
              <a:gd name="connsiteY0" fmla="*/ 142875 h 1371600"/>
              <a:gd name="connsiteX1" fmla="*/ 4544532 w 4544532"/>
              <a:gd name="connsiteY1" fmla="*/ 0 h 1371600"/>
              <a:gd name="connsiteX2" fmla="*/ 2032480 w 4544532"/>
              <a:gd name="connsiteY2" fmla="*/ 1371600 h 1371600"/>
              <a:gd name="connsiteX3" fmla="*/ 0 w 4544532"/>
              <a:gd name="connsiteY3" fmla="*/ 142875 h 1371600"/>
              <a:gd name="connsiteX0" fmla="*/ 0 w 4536805"/>
              <a:gd name="connsiteY0" fmla="*/ 148026 h 1371600"/>
              <a:gd name="connsiteX1" fmla="*/ 4536805 w 4536805"/>
              <a:gd name="connsiteY1" fmla="*/ 0 h 1371600"/>
              <a:gd name="connsiteX2" fmla="*/ 2024753 w 4536805"/>
              <a:gd name="connsiteY2" fmla="*/ 1371600 h 1371600"/>
              <a:gd name="connsiteX3" fmla="*/ 0 w 4536805"/>
              <a:gd name="connsiteY3" fmla="*/ 148026 h 1371600"/>
              <a:gd name="connsiteX0" fmla="*/ 0 w 4531653"/>
              <a:gd name="connsiteY0" fmla="*/ 142874 h 1371600"/>
              <a:gd name="connsiteX1" fmla="*/ 4531653 w 4531653"/>
              <a:gd name="connsiteY1" fmla="*/ 0 h 1371600"/>
              <a:gd name="connsiteX2" fmla="*/ 2019601 w 4531653"/>
              <a:gd name="connsiteY2" fmla="*/ 1371600 h 1371600"/>
              <a:gd name="connsiteX3" fmla="*/ 0 w 4531653"/>
              <a:gd name="connsiteY3" fmla="*/ 142874 h 1371600"/>
              <a:gd name="connsiteX0" fmla="*/ 0 w 3944799"/>
              <a:gd name="connsiteY0" fmla="*/ 33692 h 1262418"/>
              <a:gd name="connsiteX1" fmla="*/ 3944799 w 3944799"/>
              <a:gd name="connsiteY1" fmla="*/ 0 h 1262418"/>
              <a:gd name="connsiteX2" fmla="*/ 2019601 w 3944799"/>
              <a:gd name="connsiteY2" fmla="*/ 1262418 h 1262418"/>
              <a:gd name="connsiteX3" fmla="*/ 0 w 3944799"/>
              <a:gd name="connsiteY3" fmla="*/ 33692 h 1262418"/>
              <a:gd name="connsiteX0" fmla="*/ 0 w 4531653"/>
              <a:gd name="connsiteY0" fmla="*/ 115578 h 1344304"/>
              <a:gd name="connsiteX1" fmla="*/ 4531653 w 4531653"/>
              <a:gd name="connsiteY1" fmla="*/ 0 h 1344304"/>
              <a:gd name="connsiteX2" fmla="*/ 2019601 w 4531653"/>
              <a:gd name="connsiteY2" fmla="*/ 1344304 h 1344304"/>
              <a:gd name="connsiteX3" fmla="*/ 0 w 4531653"/>
              <a:gd name="connsiteY3" fmla="*/ 115578 h 1344304"/>
            </a:gdLst>
            <a:ahLst/>
            <a:cxnLst>
              <a:cxn ang="0">
                <a:pos x="connsiteX0" y="connsiteY0"/>
              </a:cxn>
              <a:cxn ang="0">
                <a:pos x="connsiteX1" y="connsiteY1"/>
              </a:cxn>
              <a:cxn ang="0">
                <a:pos x="connsiteX2" y="connsiteY2"/>
              </a:cxn>
              <a:cxn ang="0">
                <a:pos x="connsiteX3" y="connsiteY3"/>
              </a:cxn>
            </a:cxnLst>
            <a:rect l="l" t="t" r="r" b="b"/>
            <a:pathLst>
              <a:path w="4531653" h="1344304">
                <a:moveTo>
                  <a:pt x="0" y="115578"/>
                </a:moveTo>
                <a:lnTo>
                  <a:pt x="4531653" y="0"/>
                </a:lnTo>
                <a:lnTo>
                  <a:pt x="2019601" y="1344304"/>
                </a:lnTo>
                <a:lnTo>
                  <a:pt x="0" y="115578"/>
                </a:lnTo>
                <a:close/>
              </a:path>
            </a:pathLst>
          </a:custGeom>
          <a:gradFill>
            <a:gsLst>
              <a:gs pos="9000">
                <a:schemeClr val="accent1"/>
              </a:gs>
              <a:gs pos="100000">
                <a:schemeClr val="accent2"/>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7" name="Freeform 36"/>
          <p:cNvSpPr/>
          <p:nvPr userDrawn="1"/>
        </p:nvSpPr>
        <p:spPr>
          <a:xfrm>
            <a:off x="4067336" y="4705135"/>
            <a:ext cx="4628534" cy="2161794"/>
          </a:xfrm>
          <a:custGeom>
            <a:avLst/>
            <a:gdLst>
              <a:gd name="connsiteX0" fmla="*/ 0 w 4632158"/>
              <a:gd name="connsiteY0" fmla="*/ 1239253 h 2129590"/>
              <a:gd name="connsiteX1" fmla="*/ 3645569 w 4632158"/>
              <a:gd name="connsiteY1" fmla="*/ 0 h 2129590"/>
              <a:gd name="connsiteX2" fmla="*/ 4632158 w 4632158"/>
              <a:gd name="connsiteY2" fmla="*/ 2129590 h 2129590"/>
              <a:gd name="connsiteX3" fmla="*/ 0 w 4632158"/>
              <a:gd name="connsiteY3" fmla="*/ 1239253 h 2129590"/>
              <a:gd name="connsiteX0" fmla="*/ 0 w 4632158"/>
              <a:gd name="connsiteY0" fmla="*/ 1243228 h 2133565"/>
              <a:gd name="connsiteX1" fmla="*/ 3641593 w 4632158"/>
              <a:gd name="connsiteY1" fmla="*/ 0 h 2133565"/>
              <a:gd name="connsiteX2" fmla="*/ 4632158 w 4632158"/>
              <a:gd name="connsiteY2" fmla="*/ 2133565 h 2133565"/>
              <a:gd name="connsiteX3" fmla="*/ 0 w 4632158"/>
              <a:gd name="connsiteY3" fmla="*/ 1243228 h 2133565"/>
              <a:gd name="connsiteX0" fmla="*/ 0 w 4656011"/>
              <a:gd name="connsiteY0" fmla="*/ 1243228 h 2157419"/>
              <a:gd name="connsiteX1" fmla="*/ 3641593 w 4656011"/>
              <a:gd name="connsiteY1" fmla="*/ 0 h 2157419"/>
              <a:gd name="connsiteX2" fmla="*/ 4656011 w 4656011"/>
              <a:gd name="connsiteY2" fmla="*/ 2157419 h 2157419"/>
              <a:gd name="connsiteX3" fmla="*/ 0 w 4656011"/>
              <a:gd name="connsiteY3" fmla="*/ 1243228 h 2157419"/>
              <a:gd name="connsiteX0" fmla="*/ 0 w 4659987"/>
              <a:gd name="connsiteY0" fmla="*/ 1247204 h 2157419"/>
              <a:gd name="connsiteX1" fmla="*/ 3645569 w 4659987"/>
              <a:gd name="connsiteY1" fmla="*/ 0 h 2157419"/>
              <a:gd name="connsiteX2" fmla="*/ 4659987 w 4659987"/>
              <a:gd name="connsiteY2" fmla="*/ 2157419 h 2157419"/>
              <a:gd name="connsiteX3" fmla="*/ 0 w 4659987"/>
              <a:gd name="connsiteY3" fmla="*/ 1247204 h 2157419"/>
              <a:gd name="connsiteX0" fmla="*/ 0 w 4667938"/>
              <a:gd name="connsiteY0" fmla="*/ 1263107 h 2157419"/>
              <a:gd name="connsiteX1" fmla="*/ 3653520 w 4667938"/>
              <a:gd name="connsiteY1" fmla="*/ 0 h 2157419"/>
              <a:gd name="connsiteX2" fmla="*/ 4667938 w 4667938"/>
              <a:gd name="connsiteY2" fmla="*/ 2157419 h 2157419"/>
              <a:gd name="connsiteX3" fmla="*/ 0 w 4667938"/>
              <a:gd name="connsiteY3" fmla="*/ 1263107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59987"/>
              <a:gd name="connsiteY0" fmla="*/ 1251181 h 2157419"/>
              <a:gd name="connsiteX1" fmla="*/ 3645569 w 4659987"/>
              <a:gd name="connsiteY1" fmla="*/ 0 h 2157419"/>
              <a:gd name="connsiteX2" fmla="*/ 4659987 w 4659987"/>
              <a:gd name="connsiteY2" fmla="*/ 2157419 h 2157419"/>
              <a:gd name="connsiteX3" fmla="*/ 0 w 4659987"/>
              <a:gd name="connsiteY3" fmla="*/ 1251181 h 2157419"/>
              <a:gd name="connsiteX0" fmla="*/ 0 w 4674275"/>
              <a:gd name="connsiteY0" fmla="*/ 1251181 h 2157419"/>
              <a:gd name="connsiteX1" fmla="*/ 3645569 w 4674275"/>
              <a:gd name="connsiteY1" fmla="*/ 0 h 2157419"/>
              <a:gd name="connsiteX2" fmla="*/ 4674275 w 4674275"/>
              <a:gd name="connsiteY2" fmla="*/ 2157419 h 2157419"/>
              <a:gd name="connsiteX3" fmla="*/ 0 w 4674275"/>
              <a:gd name="connsiteY3" fmla="*/ 1251181 h 2157419"/>
              <a:gd name="connsiteX0" fmla="*/ 0 w 4683800"/>
              <a:gd name="connsiteY0" fmla="*/ 1251181 h 2157419"/>
              <a:gd name="connsiteX1" fmla="*/ 3655094 w 4683800"/>
              <a:gd name="connsiteY1" fmla="*/ 0 h 2157419"/>
              <a:gd name="connsiteX2" fmla="*/ 4683800 w 4683800"/>
              <a:gd name="connsiteY2" fmla="*/ 2157419 h 2157419"/>
              <a:gd name="connsiteX3" fmla="*/ 0 w 4683800"/>
              <a:gd name="connsiteY3" fmla="*/ 1251181 h 2157419"/>
              <a:gd name="connsiteX0" fmla="*/ 0 w 4695230"/>
              <a:gd name="connsiteY0" fmla="*/ 1251181 h 2157419"/>
              <a:gd name="connsiteX1" fmla="*/ 3666524 w 4695230"/>
              <a:gd name="connsiteY1" fmla="*/ 0 h 2157419"/>
              <a:gd name="connsiteX2" fmla="*/ 4695230 w 4695230"/>
              <a:gd name="connsiteY2" fmla="*/ 2157419 h 2157419"/>
              <a:gd name="connsiteX3" fmla="*/ 0 w 4695230"/>
              <a:gd name="connsiteY3" fmla="*/ 1251181 h 2157419"/>
              <a:gd name="connsiteX0" fmla="*/ 0 w 4695230"/>
              <a:gd name="connsiteY0" fmla="*/ 1251181 h 2171067"/>
              <a:gd name="connsiteX1" fmla="*/ 3666524 w 4695230"/>
              <a:gd name="connsiteY1" fmla="*/ 0 h 2171067"/>
              <a:gd name="connsiteX2" fmla="*/ 4695230 w 4695230"/>
              <a:gd name="connsiteY2" fmla="*/ 2171067 h 2171067"/>
              <a:gd name="connsiteX3" fmla="*/ 0 w 4695230"/>
              <a:gd name="connsiteY3" fmla="*/ 1251181 h 2171067"/>
              <a:gd name="connsiteX0" fmla="*/ 0 w 4708878"/>
              <a:gd name="connsiteY0" fmla="*/ 1251181 h 2184715"/>
              <a:gd name="connsiteX1" fmla="*/ 3666524 w 4708878"/>
              <a:gd name="connsiteY1" fmla="*/ 0 h 2184715"/>
              <a:gd name="connsiteX2" fmla="*/ 4708878 w 4708878"/>
              <a:gd name="connsiteY2" fmla="*/ 2184715 h 2184715"/>
              <a:gd name="connsiteX3" fmla="*/ 0 w 4708878"/>
              <a:gd name="connsiteY3" fmla="*/ 1251181 h 2184715"/>
              <a:gd name="connsiteX0" fmla="*/ 0 w 4722526"/>
              <a:gd name="connsiteY0" fmla="*/ 1251181 h 2198363"/>
              <a:gd name="connsiteX1" fmla="*/ 3666524 w 4722526"/>
              <a:gd name="connsiteY1" fmla="*/ 0 h 2198363"/>
              <a:gd name="connsiteX2" fmla="*/ 4722526 w 4722526"/>
              <a:gd name="connsiteY2" fmla="*/ 2198363 h 2198363"/>
              <a:gd name="connsiteX3" fmla="*/ 0 w 4722526"/>
              <a:gd name="connsiteY3" fmla="*/ 1251181 h 2198363"/>
              <a:gd name="connsiteX0" fmla="*/ 0 w 4658916"/>
              <a:gd name="connsiteY0" fmla="*/ 1251181 h 2190411"/>
              <a:gd name="connsiteX1" fmla="*/ 3666524 w 4658916"/>
              <a:gd name="connsiteY1" fmla="*/ 0 h 2190411"/>
              <a:gd name="connsiteX2" fmla="*/ 4658916 w 4658916"/>
              <a:gd name="connsiteY2" fmla="*/ 2190411 h 2190411"/>
              <a:gd name="connsiteX3" fmla="*/ 0 w 4658916"/>
              <a:gd name="connsiteY3" fmla="*/ 1251181 h 2190411"/>
              <a:gd name="connsiteX0" fmla="*/ 0 w 4658916"/>
              <a:gd name="connsiteY0" fmla="*/ 1251181 h 2166557"/>
              <a:gd name="connsiteX1" fmla="*/ 3666524 w 4658916"/>
              <a:gd name="connsiteY1" fmla="*/ 0 h 2166557"/>
              <a:gd name="connsiteX2" fmla="*/ 4658916 w 4658916"/>
              <a:gd name="connsiteY2" fmla="*/ 2166557 h 2166557"/>
              <a:gd name="connsiteX3" fmla="*/ 0 w 4658916"/>
              <a:gd name="connsiteY3" fmla="*/ 1251181 h 2166557"/>
              <a:gd name="connsiteX0" fmla="*/ 0 w 4670136"/>
              <a:gd name="connsiteY0" fmla="*/ 1251181 h 2166557"/>
              <a:gd name="connsiteX1" fmla="*/ 3677744 w 4670136"/>
              <a:gd name="connsiteY1" fmla="*/ 0 h 2166557"/>
              <a:gd name="connsiteX2" fmla="*/ 4670136 w 4670136"/>
              <a:gd name="connsiteY2" fmla="*/ 2166557 h 2166557"/>
              <a:gd name="connsiteX3" fmla="*/ 0 w 4670136"/>
              <a:gd name="connsiteY3" fmla="*/ 1251181 h 2166557"/>
              <a:gd name="connsiteX0" fmla="*/ 0 w 4653306"/>
              <a:gd name="connsiteY0" fmla="*/ 1251181 h 2166557"/>
              <a:gd name="connsiteX1" fmla="*/ 3660914 w 4653306"/>
              <a:gd name="connsiteY1" fmla="*/ 0 h 2166557"/>
              <a:gd name="connsiteX2" fmla="*/ 4653306 w 4653306"/>
              <a:gd name="connsiteY2" fmla="*/ 2166557 h 2166557"/>
              <a:gd name="connsiteX3" fmla="*/ 0 w 4653306"/>
              <a:gd name="connsiteY3" fmla="*/ 1251181 h 2166557"/>
              <a:gd name="connsiteX0" fmla="*/ 0 w 4001299"/>
              <a:gd name="connsiteY0" fmla="*/ 869518 h 2166557"/>
              <a:gd name="connsiteX1" fmla="*/ 3008907 w 4001299"/>
              <a:gd name="connsiteY1" fmla="*/ 0 h 2166557"/>
              <a:gd name="connsiteX2" fmla="*/ 4001299 w 4001299"/>
              <a:gd name="connsiteY2" fmla="*/ 2166557 h 2166557"/>
              <a:gd name="connsiteX3" fmla="*/ 0 w 4001299"/>
              <a:gd name="connsiteY3" fmla="*/ 869518 h 2166557"/>
              <a:gd name="connsiteX0" fmla="*/ 0 w 4645354"/>
              <a:gd name="connsiteY0" fmla="*/ 1251181 h 2166557"/>
              <a:gd name="connsiteX1" fmla="*/ 3652962 w 4645354"/>
              <a:gd name="connsiteY1" fmla="*/ 0 h 2166557"/>
              <a:gd name="connsiteX2" fmla="*/ 4645354 w 4645354"/>
              <a:gd name="connsiteY2" fmla="*/ 2166557 h 2166557"/>
              <a:gd name="connsiteX3" fmla="*/ 0 w 4645354"/>
              <a:gd name="connsiteY3" fmla="*/ 1251181 h 2166557"/>
              <a:gd name="connsiteX0" fmla="*/ 0 w 4645354"/>
              <a:gd name="connsiteY0" fmla="*/ 1243230 h 2166557"/>
              <a:gd name="connsiteX1" fmla="*/ 3652962 w 4645354"/>
              <a:gd name="connsiteY1" fmla="*/ 0 h 2166557"/>
              <a:gd name="connsiteX2" fmla="*/ 4645354 w 4645354"/>
              <a:gd name="connsiteY2" fmla="*/ 2166557 h 2166557"/>
              <a:gd name="connsiteX3" fmla="*/ 0 w 4645354"/>
              <a:gd name="connsiteY3" fmla="*/ 1243230 h 2166557"/>
              <a:gd name="connsiteX0" fmla="*/ 0 w 4645354"/>
              <a:gd name="connsiteY0" fmla="*/ 1238467 h 2161794"/>
              <a:gd name="connsiteX1" fmla="*/ 3664911 w 4645354"/>
              <a:gd name="connsiteY1" fmla="*/ 0 h 2161794"/>
              <a:gd name="connsiteX2" fmla="*/ 4645354 w 4645354"/>
              <a:gd name="connsiteY2" fmla="*/ 2161794 h 2161794"/>
              <a:gd name="connsiteX3" fmla="*/ 0 w 4645354"/>
              <a:gd name="connsiteY3" fmla="*/ 1238467 h 2161794"/>
            </a:gdLst>
            <a:ahLst/>
            <a:cxnLst>
              <a:cxn ang="0">
                <a:pos x="connsiteX0" y="connsiteY0"/>
              </a:cxn>
              <a:cxn ang="0">
                <a:pos x="connsiteX1" y="connsiteY1"/>
              </a:cxn>
              <a:cxn ang="0">
                <a:pos x="connsiteX2" y="connsiteY2"/>
              </a:cxn>
              <a:cxn ang="0">
                <a:pos x="connsiteX3" y="connsiteY3"/>
              </a:cxn>
            </a:cxnLst>
            <a:rect l="l" t="t" r="r" b="b"/>
            <a:pathLst>
              <a:path w="4645354" h="2161794">
                <a:moveTo>
                  <a:pt x="0" y="1238467"/>
                </a:moveTo>
                <a:lnTo>
                  <a:pt x="3664911" y="0"/>
                </a:lnTo>
                <a:lnTo>
                  <a:pt x="4645354" y="2161794"/>
                </a:lnTo>
                <a:lnTo>
                  <a:pt x="0" y="1238467"/>
                </a:lnTo>
                <a:close/>
              </a:path>
            </a:pathLst>
          </a:custGeom>
          <a:gradFill>
            <a:gsLst>
              <a:gs pos="2000">
                <a:schemeClr val="accent1"/>
              </a:gs>
              <a:gs pos="100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8" name="Freeform 37"/>
          <p:cNvSpPr/>
          <p:nvPr userDrawn="1"/>
        </p:nvSpPr>
        <p:spPr>
          <a:xfrm>
            <a:off x="3541852" y="3007895"/>
            <a:ext cx="2834884" cy="2947737"/>
          </a:xfrm>
          <a:custGeom>
            <a:avLst/>
            <a:gdLst>
              <a:gd name="connsiteX0" fmla="*/ 0 w 2791326"/>
              <a:gd name="connsiteY0" fmla="*/ 1816768 h 2947737"/>
              <a:gd name="connsiteX1" fmla="*/ 493294 w 2791326"/>
              <a:gd name="connsiteY1" fmla="*/ 2947737 h 2947737"/>
              <a:gd name="connsiteX2" fmla="*/ 2791326 w 2791326"/>
              <a:gd name="connsiteY2" fmla="*/ 0 h 2947737"/>
              <a:gd name="connsiteX3" fmla="*/ 0 w 2791326"/>
              <a:gd name="connsiteY3" fmla="*/ 1816768 h 2947737"/>
              <a:gd name="connsiteX0" fmla="*/ 0 w 2799638"/>
              <a:gd name="connsiteY0" fmla="*/ 1845863 h 2947737"/>
              <a:gd name="connsiteX1" fmla="*/ 501606 w 2799638"/>
              <a:gd name="connsiteY1" fmla="*/ 2947737 h 2947737"/>
              <a:gd name="connsiteX2" fmla="*/ 2799638 w 2799638"/>
              <a:gd name="connsiteY2" fmla="*/ 0 h 2947737"/>
              <a:gd name="connsiteX3" fmla="*/ 0 w 2799638"/>
              <a:gd name="connsiteY3" fmla="*/ 1845863 h 2947737"/>
              <a:gd name="connsiteX0" fmla="*/ 0 w 2826933"/>
              <a:gd name="connsiteY0" fmla="*/ 1886806 h 2947737"/>
              <a:gd name="connsiteX1" fmla="*/ 528901 w 2826933"/>
              <a:gd name="connsiteY1" fmla="*/ 2947737 h 2947737"/>
              <a:gd name="connsiteX2" fmla="*/ 2826933 w 2826933"/>
              <a:gd name="connsiteY2" fmla="*/ 0 h 2947737"/>
              <a:gd name="connsiteX3" fmla="*/ 0 w 2826933"/>
              <a:gd name="connsiteY3" fmla="*/ 1886806 h 2947737"/>
              <a:gd name="connsiteX0" fmla="*/ 0 w 2826933"/>
              <a:gd name="connsiteY0" fmla="*/ 1859510 h 2947737"/>
              <a:gd name="connsiteX1" fmla="*/ 528901 w 2826933"/>
              <a:gd name="connsiteY1" fmla="*/ 2947737 h 2947737"/>
              <a:gd name="connsiteX2" fmla="*/ 2826933 w 2826933"/>
              <a:gd name="connsiteY2" fmla="*/ 0 h 2947737"/>
              <a:gd name="connsiteX3" fmla="*/ 0 w 2826933"/>
              <a:gd name="connsiteY3" fmla="*/ 1859510 h 2947737"/>
              <a:gd name="connsiteX0" fmla="*/ 0 w 2826933"/>
              <a:gd name="connsiteY0" fmla="*/ 1859510 h 2947737"/>
              <a:gd name="connsiteX1" fmla="*/ 523291 w 2826933"/>
              <a:gd name="connsiteY1" fmla="*/ 2947737 h 2947737"/>
              <a:gd name="connsiteX2" fmla="*/ 2826933 w 2826933"/>
              <a:gd name="connsiteY2" fmla="*/ 0 h 2947737"/>
              <a:gd name="connsiteX3" fmla="*/ 0 w 2826933"/>
              <a:gd name="connsiteY3" fmla="*/ 1859510 h 2947737"/>
              <a:gd name="connsiteX0" fmla="*/ 0 w 2834884"/>
              <a:gd name="connsiteY0" fmla="*/ 1867462 h 2947737"/>
              <a:gd name="connsiteX1" fmla="*/ 531242 w 2834884"/>
              <a:gd name="connsiteY1" fmla="*/ 2947737 h 2947737"/>
              <a:gd name="connsiteX2" fmla="*/ 2834884 w 2834884"/>
              <a:gd name="connsiteY2" fmla="*/ 0 h 2947737"/>
              <a:gd name="connsiteX3" fmla="*/ 0 w 2834884"/>
              <a:gd name="connsiteY3" fmla="*/ 1867462 h 2947737"/>
            </a:gdLst>
            <a:ahLst/>
            <a:cxnLst>
              <a:cxn ang="0">
                <a:pos x="connsiteX0" y="connsiteY0"/>
              </a:cxn>
              <a:cxn ang="0">
                <a:pos x="connsiteX1" y="connsiteY1"/>
              </a:cxn>
              <a:cxn ang="0">
                <a:pos x="connsiteX2" y="connsiteY2"/>
              </a:cxn>
              <a:cxn ang="0">
                <a:pos x="connsiteX3" y="connsiteY3"/>
              </a:cxn>
            </a:cxnLst>
            <a:rect l="l" t="t" r="r" b="b"/>
            <a:pathLst>
              <a:path w="2834884" h="2947737">
                <a:moveTo>
                  <a:pt x="0" y="1867462"/>
                </a:moveTo>
                <a:lnTo>
                  <a:pt x="531242" y="2947737"/>
                </a:lnTo>
                <a:lnTo>
                  <a:pt x="2834884" y="0"/>
                </a:lnTo>
                <a:lnTo>
                  <a:pt x="0" y="1867462"/>
                </a:lnTo>
                <a:close/>
              </a:path>
            </a:pathLst>
          </a:custGeom>
          <a:gradFill>
            <a:gsLst>
              <a:gs pos="15000">
                <a:schemeClr val="accent2"/>
              </a:gs>
              <a:gs pos="97000">
                <a:schemeClr val="accent1"/>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userDrawn="1">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033004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ection Header Option 2">
    <p:spTree>
      <p:nvGrpSpPr>
        <p:cNvPr id="1" name=""/>
        <p:cNvGrpSpPr/>
        <p:nvPr/>
      </p:nvGrpSpPr>
      <p:grpSpPr>
        <a:xfrm>
          <a:off x="0" y="0"/>
          <a:ext cx="0" cy="0"/>
          <a:chOff x="0" y="0"/>
          <a:chExt cx="0" cy="0"/>
        </a:xfrm>
      </p:grpSpPr>
      <p:sp>
        <p:nvSpPr>
          <p:cNvPr id="41" name="Rectangle 40"/>
          <p:cNvSpPr/>
          <p:nvPr userDrawn="1"/>
        </p:nvSpPr>
        <p:spPr>
          <a:xfrm>
            <a:off x="0" y="0"/>
            <a:ext cx="1218895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grpSp>
        <p:nvGrpSpPr>
          <p:cNvPr id="3" name="Group 2"/>
          <p:cNvGrpSpPr/>
          <p:nvPr userDrawn="1"/>
        </p:nvGrpSpPr>
        <p:grpSpPr>
          <a:xfrm>
            <a:off x="-9845" y="-7221"/>
            <a:ext cx="12210731" cy="6884165"/>
            <a:chOff x="-9845" y="-7221"/>
            <a:chExt cx="12210731" cy="6884165"/>
          </a:xfrm>
        </p:grpSpPr>
        <p:sp>
          <p:nvSpPr>
            <p:cNvPr id="6" name="Freeform 5"/>
            <p:cNvSpPr/>
            <p:nvPr/>
          </p:nvSpPr>
          <p:spPr>
            <a:xfrm>
              <a:off x="-6314" y="3602940"/>
              <a:ext cx="3593122" cy="3267566"/>
            </a:xfrm>
            <a:custGeom>
              <a:avLst/>
              <a:gdLst>
                <a:gd name="connsiteX0" fmla="*/ 1392248 w 3580909"/>
                <a:gd name="connsiteY0" fmla="*/ 0 h 3209249"/>
                <a:gd name="connsiteX1" fmla="*/ 0 w 3580909"/>
                <a:gd name="connsiteY1" fmla="*/ 3209249 h 3209249"/>
                <a:gd name="connsiteX2" fmla="*/ 3580909 w 3580909"/>
                <a:gd name="connsiteY2" fmla="*/ 1215267 h 3209249"/>
                <a:gd name="connsiteX3" fmla="*/ 1392248 w 3580909"/>
                <a:gd name="connsiteY3" fmla="*/ 0 h 3209249"/>
                <a:gd name="connsiteX0" fmla="*/ 1406371 w 3595032"/>
                <a:gd name="connsiteY0" fmla="*/ 0 h 3209249"/>
                <a:gd name="connsiteX1" fmla="*/ 0 w 3595032"/>
                <a:gd name="connsiteY1" fmla="*/ 3209249 h 3209249"/>
                <a:gd name="connsiteX2" fmla="*/ 3595032 w 3595032"/>
                <a:gd name="connsiteY2" fmla="*/ 1215267 h 3209249"/>
                <a:gd name="connsiteX3" fmla="*/ 1406371 w 3595032"/>
                <a:gd name="connsiteY3" fmla="*/ 0 h 3209249"/>
                <a:gd name="connsiteX0" fmla="*/ 1399310 w 3587971"/>
                <a:gd name="connsiteY0" fmla="*/ 0 h 3209249"/>
                <a:gd name="connsiteX1" fmla="*/ 0 w 3587971"/>
                <a:gd name="connsiteY1" fmla="*/ 3209249 h 3209249"/>
                <a:gd name="connsiteX2" fmla="*/ 3587971 w 3587971"/>
                <a:gd name="connsiteY2" fmla="*/ 1215267 h 3209249"/>
                <a:gd name="connsiteX3" fmla="*/ 1399310 w 3587971"/>
                <a:gd name="connsiteY3" fmla="*/ 0 h 3209249"/>
                <a:gd name="connsiteX0" fmla="*/ 1399310 w 3587971"/>
                <a:gd name="connsiteY0" fmla="*/ 0 h 3252111"/>
                <a:gd name="connsiteX1" fmla="*/ 0 w 3587971"/>
                <a:gd name="connsiteY1" fmla="*/ 3252111 h 3252111"/>
                <a:gd name="connsiteX2" fmla="*/ 3587971 w 3587971"/>
                <a:gd name="connsiteY2" fmla="*/ 1258129 h 3252111"/>
                <a:gd name="connsiteX3" fmla="*/ 1399310 w 3587971"/>
                <a:gd name="connsiteY3" fmla="*/ 0 h 3252111"/>
                <a:gd name="connsiteX0" fmla="*/ 1396734 w 3585395"/>
                <a:gd name="connsiteY0" fmla="*/ 0 h 3264990"/>
                <a:gd name="connsiteX1" fmla="*/ 0 w 3585395"/>
                <a:gd name="connsiteY1" fmla="*/ 3264990 h 3264990"/>
                <a:gd name="connsiteX2" fmla="*/ 3585395 w 3585395"/>
                <a:gd name="connsiteY2" fmla="*/ 1258129 h 3264990"/>
                <a:gd name="connsiteX3" fmla="*/ 1396734 w 3585395"/>
                <a:gd name="connsiteY3" fmla="*/ 0 h 3264990"/>
                <a:gd name="connsiteX0" fmla="*/ 1404461 w 3593122"/>
                <a:gd name="connsiteY0" fmla="*/ 0 h 3267566"/>
                <a:gd name="connsiteX1" fmla="*/ 0 w 3593122"/>
                <a:gd name="connsiteY1" fmla="*/ 3267566 h 3267566"/>
                <a:gd name="connsiteX2" fmla="*/ 3593122 w 3593122"/>
                <a:gd name="connsiteY2" fmla="*/ 1258129 h 3267566"/>
                <a:gd name="connsiteX3" fmla="*/ 1404461 w 3593122"/>
                <a:gd name="connsiteY3" fmla="*/ 0 h 3267566"/>
              </a:gdLst>
              <a:ahLst/>
              <a:cxnLst>
                <a:cxn ang="0">
                  <a:pos x="connsiteX0" y="connsiteY0"/>
                </a:cxn>
                <a:cxn ang="0">
                  <a:pos x="connsiteX1" y="connsiteY1"/>
                </a:cxn>
                <a:cxn ang="0">
                  <a:pos x="connsiteX2" y="connsiteY2"/>
                </a:cxn>
                <a:cxn ang="0">
                  <a:pos x="connsiteX3" y="connsiteY3"/>
                </a:cxn>
              </a:cxnLst>
              <a:rect l="l" t="t" r="r" b="b"/>
              <a:pathLst>
                <a:path w="3593122" h="3267566">
                  <a:moveTo>
                    <a:pt x="1404461" y="0"/>
                  </a:moveTo>
                  <a:lnTo>
                    <a:pt x="0" y="3267566"/>
                  </a:lnTo>
                  <a:lnTo>
                    <a:pt x="3593122" y="1258129"/>
                  </a:lnTo>
                  <a:lnTo>
                    <a:pt x="1404461" y="0"/>
                  </a:lnTo>
                  <a:close/>
                </a:path>
              </a:pathLst>
            </a:custGeom>
            <a:gradFill>
              <a:gsLst>
                <a:gs pos="100000">
                  <a:schemeClr val="accent3"/>
                </a:gs>
                <a:gs pos="44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7" name="Freeform 6"/>
            <p:cNvSpPr/>
            <p:nvPr/>
          </p:nvSpPr>
          <p:spPr>
            <a:xfrm>
              <a:off x="1390330" y="1741468"/>
              <a:ext cx="2199979" cy="3164694"/>
            </a:xfrm>
            <a:custGeom>
              <a:avLst/>
              <a:gdLst>
                <a:gd name="connsiteX0" fmla="*/ 1739462 w 2186152"/>
                <a:gd name="connsiteY0" fmla="*/ 0 h 3095296"/>
                <a:gd name="connsiteX1" fmla="*/ 0 w 2186152"/>
                <a:gd name="connsiteY1" fmla="*/ 1891862 h 3095296"/>
                <a:gd name="connsiteX2" fmla="*/ 2186152 w 2186152"/>
                <a:gd name="connsiteY2" fmla="*/ 3095296 h 3095296"/>
                <a:gd name="connsiteX3" fmla="*/ 1739462 w 2186152"/>
                <a:gd name="connsiteY3" fmla="*/ 0 h 3095296"/>
                <a:gd name="connsiteX0" fmla="*/ 1733563 w 2186152"/>
                <a:gd name="connsiteY0" fmla="*/ 0 h 3112994"/>
                <a:gd name="connsiteX1" fmla="*/ 0 w 2186152"/>
                <a:gd name="connsiteY1" fmla="*/ 1909560 h 3112994"/>
                <a:gd name="connsiteX2" fmla="*/ 2186152 w 2186152"/>
                <a:gd name="connsiteY2" fmla="*/ 3112994 h 3112994"/>
                <a:gd name="connsiteX3" fmla="*/ 1733563 w 2186152"/>
                <a:gd name="connsiteY3" fmla="*/ 0 h 3112994"/>
                <a:gd name="connsiteX0" fmla="*/ 1752613 w 2186152"/>
                <a:gd name="connsiteY0" fmla="*/ 0 h 3108232"/>
                <a:gd name="connsiteX1" fmla="*/ 0 w 2186152"/>
                <a:gd name="connsiteY1" fmla="*/ 1904798 h 3108232"/>
                <a:gd name="connsiteX2" fmla="*/ 2186152 w 2186152"/>
                <a:gd name="connsiteY2" fmla="*/ 3108232 h 3108232"/>
                <a:gd name="connsiteX3" fmla="*/ 1752613 w 2186152"/>
                <a:gd name="connsiteY3" fmla="*/ 0 h 3108232"/>
                <a:gd name="connsiteX0" fmla="*/ 1738326 w 2186152"/>
                <a:gd name="connsiteY0" fmla="*/ 0 h 3108232"/>
                <a:gd name="connsiteX1" fmla="*/ 0 w 2186152"/>
                <a:gd name="connsiteY1" fmla="*/ 1904798 h 3108232"/>
                <a:gd name="connsiteX2" fmla="*/ 2186152 w 2186152"/>
                <a:gd name="connsiteY2" fmla="*/ 3108232 h 3108232"/>
                <a:gd name="connsiteX3" fmla="*/ 1738326 w 2186152"/>
                <a:gd name="connsiteY3" fmla="*/ 0 h 3108232"/>
                <a:gd name="connsiteX0" fmla="*/ 1724039 w 2186152"/>
                <a:gd name="connsiteY0" fmla="*/ 0 h 3089182"/>
                <a:gd name="connsiteX1" fmla="*/ 0 w 2186152"/>
                <a:gd name="connsiteY1" fmla="*/ 1885748 h 3089182"/>
                <a:gd name="connsiteX2" fmla="*/ 2186152 w 2186152"/>
                <a:gd name="connsiteY2" fmla="*/ 3089182 h 3089182"/>
                <a:gd name="connsiteX3" fmla="*/ 1724039 w 2186152"/>
                <a:gd name="connsiteY3" fmla="*/ 0 h 3089182"/>
                <a:gd name="connsiteX0" fmla="*/ 1743089 w 2205202"/>
                <a:gd name="connsiteY0" fmla="*/ 0 h 3089182"/>
                <a:gd name="connsiteX1" fmla="*/ 0 w 2205202"/>
                <a:gd name="connsiteY1" fmla="*/ 1861935 h 3089182"/>
                <a:gd name="connsiteX2" fmla="*/ 2205202 w 2205202"/>
                <a:gd name="connsiteY2" fmla="*/ 3089182 h 3089182"/>
                <a:gd name="connsiteX3" fmla="*/ 1743089 w 2205202"/>
                <a:gd name="connsiteY3" fmla="*/ 0 h 3089182"/>
                <a:gd name="connsiteX0" fmla="*/ 1733564 w 2205202"/>
                <a:gd name="connsiteY0" fmla="*/ 0 h 3079657"/>
                <a:gd name="connsiteX1" fmla="*/ 0 w 2205202"/>
                <a:gd name="connsiteY1" fmla="*/ 1852410 h 3079657"/>
                <a:gd name="connsiteX2" fmla="*/ 2205202 w 2205202"/>
                <a:gd name="connsiteY2" fmla="*/ 3079657 h 3079657"/>
                <a:gd name="connsiteX3" fmla="*/ 1733564 w 2205202"/>
                <a:gd name="connsiteY3" fmla="*/ 0 h 3079657"/>
                <a:gd name="connsiteX0" fmla="*/ 1695464 w 2167102"/>
                <a:gd name="connsiteY0" fmla="*/ 0 h 3079657"/>
                <a:gd name="connsiteX1" fmla="*/ 0 w 2167102"/>
                <a:gd name="connsiteY1" fmla="*/ 1871460 h 3079657"/>
                <a:gd name="connsiteX2" fmla="*/ 2167102 w 2167102"/>
                <a:gd name="connsiteY2" fmla="*/ 3079657 h 3079657"/>
                <a:gd name="connsiteX3" fmla="*/ 1695464 w 2167102"/>
                <a:gd name="connsiteY3" fmla="*/ 0 h 3079657"/>
                <a:gd name="connsiteX0" fmla="*/ 1724039 w 2195677"/>
                <a:gd name="connsiteY0" fmla="*/ 0 h 3079657"/>
                <a:gd name="connsiteX1" fmla="*/ 0 w 2195677"/>
                <a:gd name="connsiteY1" fmla="*/ 1866698 h 3079657"/>
                <a:gd name="connsiteX2" fmla="*/ 2195677 w 2195677"/>
                <a:gd name="connsiteY2" fmla="*/ 3079657 h 3079657"/>
                <a:gd name="connsiteX3" fmla="*/ 1724039 w 2195677"/>
                <a:gd name="connsiteY3" fmla="*/ 0 h 3079657"/>
                <a:gd name="connsiteX0" fmla="*/ 1746073 w 2195677"/>
                <a:gd name="connsiteY0" fmla="*/ 0 h 3079657"/>
                <a:gd name="connsiteX1" fmla="*/ 0 w 2195677"/>
                <a:gd name="connsiteY1" fmla="*/ 1866698 h 3079657"/>
                <a:gd name="connsiteX2" fmla="*/ 2195677 w 2195677"/>
                <a:gd name="connsiteY2" fmla="*/ 3079657 h 3079657"/>
                <a:gd name="connsiteX3" fmla="*/ 1746073 w 2195677"/>
                <a:gd name="connsiteY3" fmla="*/ 0 h 3079657"/>
                <a:gd name="connsiteX0" fmla="*/ 1714323 w 2195677"/>
                <a:gd name="connsiteY0" fmla="*/ 0 h 3098707"/>
                <a:gd name="connsiteX1" fmla="*/ 0 w 2195677"/>
                <a:gd name="connsiteY1" fmla="*/ 1885748 h 3098707"/>
                <a:gd name="connsiteX2" fmla="*/ 2195677 w 2195677"/>
                <a:gd name="connsiteY2" fmla="*/ 3098707 h 3098707"/>
                <a:gd name="connsiteX3" fmla="*/ 1714323 w 2195677"/>
                <a:gd name="connsiteY3" fmla="*/ 0 h 3098707"/>
                <a:gd name="connsiteX0" fmla="*/ 1720673 w 2195677"/>
                <a:gd name="connsiteY0" fmla="*/ 0 h 3092357"/>
                <a:gd name="connsiteX1" fmla="*/ 0 w 2195677"/>
                <a:gd name="connsiteY1" fmla="*/ 1879398 h 3092357"/>
                <a:gd name="connsiteX2" fmla="*/ 2195677 w 2195677"/>
                <a:gd name="connsiteY2" fmla="*/ 3092357 h 3092357"/>
                <a:gd name="connsiteX3" fmla="*/ 1720673 w 2195677"/>
                <a:gd name="connsiteY3" fmla="*/ 0 h 3092357"/>
                <a:gd name="connsiteX0" fmla="*/ 1739723 w 2195677"/>
                <a:gd name="connsiteY0" fmla="*/ 0 h 3086007"/>
                <a:gd name="connsiteX1" fmla="*/ 0 w 2195677"/>
                <a:gd name="connsiteY1" fmla="*/ 1873048 h 3086007"/>
                <a:gd name="connsiteX2" fmla="*/ 2195677 w 2195677"/>
                <a:gd name="connsiteY2" fmla="*/ 3086007 h 3086007"/>
                <a:gd name="connsiteX3" fmla="*/ 1739723 w 2195677"/>
                <a:gd name="connsiteY3" fmla="*/ 0 h 3086007"/>
                <a:gd name="connsiteX0" fmla="*/ 1720673 w 2195677"/>
                <a:gd name="connsiteY0" fmla="*/ 0 h 3155857"/>
                <a:gd name="connsiteX1" fmla="*/ 0 w 2195677"/>
                <a:gd name="connsiteY1" fmla="*/ 1942898 h 3155857"/>
                <a:gd name="connsiteX2" fmla="*/ 2195677 w 2195677"/>
                <a:gd name="connsiteY2" fmla="*/ 3155857 h 3155857"/>
                <a:gd name="connsiteX3" fmla="*/ 1720673 w 2195677"/>
                <a:gd name="connsiteY3" fmla="*/ 0 h 3155857"/>
                <a:gd name="connsiteX0" fmla="*/ 1720673 w 2195677"/>
                <a:gd name="connsiteY0" fmla="*/ 0 h 3079657"/>
                <a:gd name="connsiteX1" fmla="*/ 0 w 2195677"/>
                <a:gd name="connsiteY1" fmla="*/ 1866698 h 3079657"/>
                <a:gd name="connsiteX2" fmla="*/ 2195677 w 2195677"/>
                <a:gd name="connsiteY2" fmla="*/ 3079657 h 3079657"/>
                <a:gd name="connsiteX3" fmla="*/ 1720673 w 2195677"/>
                <a:gd name="connsiteY3" fmla="*/ 0 h 3079657"/>
                <a:gd name="connsiteX0" fmla="*/ 1720673 w 2195677"/>
                <a:gd name="connsiteY0" fmla="*/ 0 h 3149507"/>
                <a:gd name="connsiteX1" fmla="*/ 0 w 2195677"/>
                <a:gd name="connsiteY1" fmla="*/ 1936548 h 3149507"/>
                <a:gd name="connsiteX2" fmla="*/ 2195677 w 2195677"/>
                <a:gd name="connsiteY2" fmla="*/ 3149507 h 3149507"/>
                <a:gd name="connsiteX3" fmla="*/ 1720673 w 219567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24975 w 2199979"/>
                <a:gd name="connsiteY0" fmla="*/ 0 h 3149507"/>
                <a:gd name="connsiteX1" fmla="*/ 0 w 2199979"/>
                <a:gd name="connsiteY1" fmla="*/ 1921800 h 3149507"/>
                <a:gd name="connsiteX2" fmla="*/ 2199979 w 2199979"/>
                <a:gd name="connsiteY2" fmla="*/ 3149507 h 3149507"/>
                <a:gd name="connsiteX3" fmla="*/ 1724975 w 2199979"/>
                <a:gd name="connsiteY3" fmla="*/ 0 h 3149507"/>
                <a:gd name="connsiteX0" fmla="*/ 1722399 w 2199979"/>
                <a:gd name="connsiteY0" fmla="*/ 0 h 3072234"/>
                <a:gd name="connsiteX1" fmla="*/ 0 w 2199979"/>
                <a:gd name="connsiteY1" fmla="*/ 1844527 h 3072234"/>
                <a:gd name="connsiteX2" fmla="*/ 2199979 w 2199979"/>
                <a:gd name="connsiteY2" fmla="*/ 3072234 h 3072234"/>
                <a:gd name="connsiteX3" fmla="*/ 1722399 w 2199979"/>
                <a:gd name="connsiteY3" fmla="*/ 0 h 3072234"/>
                <a:gd name="connsiteX0" fmla="*/ 1722399 w 2199979"/>
                <a:gd name="connsiteY0" fmla="*/ 0 h 3123750"/>
                <a:gd name="connsiteX1" fmla="*/ 0 w 2199979"/>
                <a:gd name="connsiteY1" fmla="*/ 1896043 h 3123750"/>
                <a:gd name="connsiteX2" fmla="*/ 2199979 w 2199979"/>
                <a:gd name="connsiteY2" fmla="*/ 3123750 h 3123750"/>
                <a:gd name="connsiteX3" fmla="*/ 1722399 w 2199979"/>
                <a:gd name="connsiteY3" fmla="*/ 0 h 3123750"/>
                <a:gd name="connsiteX0" fmla="*/ 1736047 w 2199979"/>
                <a:gd name="connsiteY0" fmla="*/ 0 h 3164694"/>
                <a:gd name="connsiteX1" fmla="*/ 0 w 2199979"/>
                <a:gd name="connsiteY1" fmla="*/ 1936987 h 3164694"/>
                <a:gd name="connsiteX2" fmla="*/ 2199979 w 2199979"/>
                <a:gd name="connsiteY2" fmla="*/ 3164694 h 3164694"/>
                <a:gd name="connsiteX3" fmla="*/ 1736047 w 2199979"/>
                <a:gd name="connsiteY3" fmla="*/ 0 h 3164694"/>
              </a:gdLst>
              <a:ahLst/>
              <a:cxnLst>
                <a:cxn ang="0">
                  <a:pos x="connsiteX0" y="connsiteY0"/>
                </a:cxn>
                <a:cxn ang="0">
                  <a:pos x="connsiteX1" y="connsiteY1"/>
                </a:cxn>
                <a:cxn ang="0">
                  <a:pos x="connsiteX2" y="connsiteY2"/>
                </a:cxn>
                <a:cxn ang="0">
                  <a:pos x="connsiteX3" y="connsiteY3"/>
                </a:cxn>
              </a:cxnLst>
              <a:rect l="l" t="t" r="r" b="b"/>
              <a:pathLst>
                <a:path w="2199979" h="3164694">
                  <a:moveTo>
                    <a:pt x="1736047" y="0"/>
                  </a:moveTo>
                  <a:lnTo>
                    <a:pt x="0" y="1936987"/>
                  </a:lnTo>
                  <a:lnTo>
                    <a:pt x="2199979" y="3164694"/>
                  </a:lnTo>
                  <a:lnTo>
                    <a:pt x="1736047" y="0"/>
                  </a:lnTo>
                  <a:close/>
                </a:path>
              </a:pathLst>
            </a:custGeom>
            <a:gradFill>
              <a:gsLst>
                <a:gs pos="100000">
                  <a:schemeClr val="accent3"/>
                </a:gs>
                <a:gs pos="44000">
                  <a:schemeClr val="accent2"/>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8" name="Freeform 7"/>
            <p:cNvSpPr/>
            <p:nvPr/>
          </p:nvSpPr>
          <p:spPr>
            <a:xfrm>
              <a:off x="6375805" y="1"/>
              <a:ext cx="4644129" cy="1222744"/>
            </a:xfrm>
            <a:custGeom>
              <a:avLst/>
              <a:gdLst>
                <a:gd name="connsiteX0" fmla="*/ 0 w 4550735"/>
                <a:gd name="connsiteY0" fmla="*/ 0 h 1222745"/>
                <a:gd name="connsiteX1" fmla="*/ 1222744 w 4550735"/>
                <a:gd name="connsiteY1" fmla="*/ 1222745 h 1222745"/>
                <a:gd name="connsiteX2" fmla="*/ 4550735 w 4550735"/>
                <a:gd name="connsiteY2" fmla="*/ 10633 h 1222745"/>
                <a:gd name="connsiteX3" fmla="*/ 0 w 4550735"/>
                <a:gd name="connsiteY3" fmla="*/ 0 h 1222745"/>
                <a:gd name="connsiteX0" fmla="*/ 0 w 4582633"/>
                <a:gd name="connsiteY0" fmla="*/ 10633 h 1212112"/>
                <a:gd name="connsiteX1" fmla="*/ 1254642 w 4582633"/>
                <a:gd name="connsiteY1" fmla="*/ 1212112 h 1212112"/>
                <a:gd name="connsiteX2" fmla="*/ 4582633 w 4582633"/>
                <a:gd name="connsiteY2" fmla="*/ 0 h 1212112"/>
                <a:gd name="connsiteX3" fmla="*/ 0 w 4582633"/>
                <a:gd name="connsiteY3" fmla="*/ 10633 h 1212112"/>
                <a:gd name="connsiteX0" fmla="*/ 0 w 4566685"/>
                <a:gd name="connsiteY0" fmla="*/ 0 h 1228061"/>
                <a:gd name="connsiteX1" fmla="*/ 1238694 w 4566685"/>
                <a:gd name="connsiteY1" fmla="*/ 1228061 h 1228061"/>
                <a:gd name="connsiteX2" fmla="*/ 4566685 w 4566685"/>
                <a:gd name="connsiteY2" fmla="*/ 15949 h 1228061"/>
                <a:gd name="connsiteX3" fmla="*/ 0 w 4566685"/>
                <a:gd name="connsiteY3" fmla="*/ 0 h 1228061"/>
                <a:gd name="connsiteX0" fmla="*/ 0 w 4566685"/>
                <a:gd name="connsiteY0" fmla="*/ 0 h 1217428"/>
                <a:gd name="connsiteX1" fmla="*/ 1238694 w 4566685"/>
                <a:gd name="connsiteY1" fmla="*/ 1217428 h 1217428"/>
                <a:gd name="connsiteX2" fmla="*/ 4566685 w 4566685"/>
                <a:gd name="connsiteY2" fmla="*/ 5316 h 1217428"/>
                <a:gd name="connsiteX3" fmla="*/ 0 w 4566685"/>
                <a:gd name="connsiteY3" fmla="*/ 0 h 1217428"/>
                <a:gd name="connsiteX0" fmla="*/ 0 w 4614532"/>
                <a:gd name="connsiteY0" fmla="*/ 0 h 1217428"/>
                <a:gd name="connsiteX1" fmla="*/ 1238694 w 4614532"/>
                <a:gd name="connsiteY1" fmla="*/ 1217428 h 1217428"/>
                <a:gd name="connsiteX2" fmla="*/ 4614532 w 4614532"/>
                <a:gd name="connsiteY2" fmla="*/ 5316 h 1217428"/>
                <a:gd name="connsiteX3" fmla="*/ 0 w 4614532"/>
                <a:gd name="connsiteY3" fmla="*/ 0 h 1217428"/>
                <a:gd name="connsiteX0" fmla="*/ 0 w 4614532"/>
                <a:gd name="connsiteY0" fmla="*/ 0 h 1228060"/>
                <a:gd name="connsiteX1" fmla="*/ 1286541 w 4614532"/>
                <a:gd name="connsiteY1" fmla="*/ 1228060 h 1228060"/>
                <a:gd name="connsiteX2" fmla="*/ 4614532 w 4614532"/>
                <a:gd name="connsiteY2" fmla="*/ 5316 h 1228060"/>
                <a:gd name="connsiteX3" fmla="*/ 0 w 4614532"/>
                <a:gd name="connsiteY3" fmla="*/ 0 h 1228060"/>
                <a:gd name="connsiteX0" fmla="*/ 0 w 4614532"/>
                <a:gd name="connsiteY0" fmla="*/ 10633 h 1222744"/>
                <a:gd name="connsiteX1" fmla="*/ 1286541 w 4614532"/>
                <a:gd name="connsiteY1" fmla="*/ 1222744 h 1222744"/>
                <a:gd name="connsiteX2" fmla="*/ 4614532 w 4614532"/>
                <a:gd name="connsiteY2" fmla="*/ 0 h 1222744"/>
                <a:gd name="connsiteX3" fmla="*/ 0 w 4614532"/>
                <a:gd name="connsiteY3" fmla="*/ 10633 h 1222744"/>
                <a:gd name="connsiteX0" fmla="*/ 0 w 4614532"/>
                <a:gd name="connsiteY0" fmla="*/ 10633 h 1201479"/>
                <a:gd name="connsiteX1" fmla="*/ 1238695 w 4614532"/>
                <a:gd name="connsiteY1" fmla="*/ 1201479 h 1201479"/>
                <a:gd name="connsiteX2" fmla="*/ 4614532 w 4614532"/>
                <a:gd name="connsiteY2" fmla="*/ 0 h 1201479"/>
                <a:gd name="connsiteX3" fmla="*/ 0 w 4614532"/>
                <a:gd name="connsiteY3" fmla="*/ 10633 h 1201479"/>
                <a:gd name="connsiteX0" fmla="*/ 0 w 4614532"/>
                <a:gd name="connsiteY0" fmla="*/ 10633 h 1222744"/>
                <a:gd name="connsiteX1" fmla="*/ 1249328 w 4614532"/>
                <a:gd name="connsiteY1" fmla="*/ 1222744 h 1222744"/>
                <a:gd name="connsiteX2" fmla="*/ 4614532 w 4614532"/>
                <a:gd name="connsiteY2" fmla="*/ 0 h 1222744"/>
                <a:gd name="connsiteX3" fmla="*/ 0 w 4614532"/>
                <a:gd name="connsiteY3" fmla="*/ 10633 h 1222744"/>
                <a:gd name="connsiteX0" fmla="*/ 0 w 4614532"/>
                <a:gd name="connsiteY0" fmla="*/ 0 h 1222744"/>
                <a:gd name="connsiteX1" fmla="*/ 1249328 w 4614532"/>
                <a:gd name="connsiteY1" fmla="*/ 1222744 h 1222744"/>
                <a:gd name="connsiteX2" fmla="*/ 4614532 w 4614532"/>
                <a:gd name="connsiteY2" fmla="*/ 0 h 1222744"/>
                <a:gd name="connsiteX3" fmla="*/ 0 w 4614532"/>
                <a:gd name="connsiteY3" fmla="*/ 0 h 1222744"/>
                <a:gd name="connsiteX0" fmla="*/ 0 w 4630481"/>
                <a:gd name="connsiteY0" fmla="*/ 0 h 1222744"/>
                <a:gd name="connsiteX1" fmla="*/ 1249328 w 4630481"/>
                <a:gd name="connsiteY1" fmla="*/ 1222744 h 1222744"/>
                <a:gd name="connsiteX2" fmla="*/ 4630481 w 4630481"/>
                <a:gd name="connsiteY2" fmla="*/ 0 h 1222744"/>
                <a:gd name="connsiteX3" fmla="*/ 0 w 4630481"/>
                <a:gd name="connsiteY3" fmla="*/ 0 h 1222744"/>
                <a:gd name="connsiteX0" fmla="*/ 0 w 4671425"/>
                <a:gd name="connsiteY0" fmla="*/ 0 h 1222744"/>
                <a:gd name="connsiteX1" fmla="*/ 1290272 w 4671425"/>
                <a:gd name="connsiteY1" fmla="*/ 1222744 h 1222744"/>
                <a:gd name="connsiteX2" fmla="*/ 4671425 w 4671425"/>
                <a:gd name="connsiteY2" fmla="*/ 0 h 1222744"/>
                <a:gd name="connsiteX3" fmla="*/ 0 w 4671425"/>
                <a:gd name="connsiteY3" fmla="*/ 0 h 1222744"/>
                <a:gd name="connsiteX0" fmla="*/ 0 w 4671425"/>
                <a:gd name="connsiteY0" fmla="*/ 0 h 1222744"/>
                <a:gd name="connsiteX1" fmla="*/ 1290272 w 4671425"/>
                <a:gd name="connsiteY1" fmla="*/ 1222744 h 1222744"/>
                <a:gd name="connsiteX2" fmla="*/ 4671425 w 4671425"/>
                <a:gd name="connsiteY2" fmla="*/ 614149 h 1222744"/>
                <a:gd name="connsiteX3" fmla="*/ 0 w 4671425"/>
                <a:gd name="connsiteY3" fmla="*/ 0 h 1222744"/>
                <a:gd name="connsiteX0" fmla="*/ 0 w 4657777"/>
                <a:gd name="connsiteY0" fmla="*/ 13648 h 1236392"/>
                <a:gd name="connsiteX1" fmla="*/ 1290272 w 4657777"/>
                <a:gd name="connsiteY1" fmla="*/ 1236392 h 1236392"/>
                <a:gd name="connsiteX2" fmla="*/ 4657777 w 4657777"/>
                <a:gd name="connsiteY2" fmla="*/ 0 h 1236392"/>
                <a:gd name="connsiteX3" fmla="*/ 0 w 4657777"/>
                <a:gd name="connsiteY3" fmla="*/ 13648 h 1236392"/>
                <a:gd name="connsiteX0" fmla="*/ 0 w 4644129"/>
                <a:gd name="connsiteY0" fmla="*/ 0 h 1222744"/>
                <a:gd name="connsiteX1" fmla="*/ 1290272 w 4644129"/>
                <a:gd name="connsiteY1" fmla="*/ 1222744 h 1222744"/>
                <a:gd name="connsiteX2" fmla="*/ 4644129 w 4644129"/>
                <a:gd name="connsiteY2" fmla="*/ 0 h 1222744"/>
                <a:gd name="connsiteX3" fmla="*/ 0 w 4644129"/>
                <a:gd name="connsiteY3" fmla="*/ 0 h 1222744"/>
              </a:gdLst>
              <a:ahLst/>
              <a:cxnLst>
                <a:cxn ang="0">
                  <a:pos x="connsiteX0" y="connsiteY0"/>
                </a:cxn>
                <a:cxn ang="0">
                  <a:pos x="connsiteX1" y="connsiteY1"/>
                </a:cxn>
                <a:cxn ang="0">
                  <a:pos x="connsiteX2" y="connsiteY2"/>
                </a:cxn>
                <a:cxn ang="0">
                  <a:pos x="connsiteX3" y="connsiteY3"/>
                </a:cxn>
              </a:cxnLst>
              <a:rect l="l" t="t" r="r" b="b"/>
              <a:pathLst>
                <a:path w="4644129" h="1222744">
                  <a:moveTo>
                    <a:pt x="0" y="0"/>
                  </a:moveTo>
                  <a:lnTo>
                    <a:pt x="1290272" y="1222744"/>
                  </a:lnTo>
                  <a:lnTo>
                    <a:pt x="4644129" y="0"/>
                  </a:lnTo>
                  <a:lnTo>
                    <a:pt x="0" y="0"/>
                  </a:lnTo>
                  <a:close/>
                </a:path>
              </a:pathLst>
            </a:custGeom>
            <a:gradFill>
              <a:gsLst>
                <a:gs pos="100000">
                  <a:schemeClr val="accent3"/>
                </a:gs>
                <a:gs pos="35000">
                  <a:schemeClr val="accent2"/>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 name="Freeform 8"/>
            <p:cNvSpPr/>
            <p:nvPr/>
          </p:nvSpPr>
          <p:spPr>
            <a:xfrm>
              <a:off x="4052439" y="2989173"/>
              <a:ext cx="3708351" cy="2971471"/>
            </a:xfrm>
            <a:custGeom>
              <a:avLst/>
              <a:gdLst>
                <a:gd name="connsiteX0" fmla="*/ 2291255 w 3641834"/>
                <a:gd name="connsiteY0" fmla="*/ 0 h 2958662"/>
                <a:gd name="connsiteX1" fmla="*/ 3641834 w 3641834"/>
                <a:gd name="connsiteY1" fmla="*/ 1692165 h 2958662"/>
                <a:gd name="connsiteX2" fmla="*/ 0 w 3641834"/>
                <a:gd name="connsiteY2" fmla="*/ 2958662 h 2958662"/>
                <a:gd name="connsiteX3" fmla="*/ 2291255 w 3641834"/>
                <a:gd name="connsiteY3" fmla="*/ 0 h 2958662"/>
                <a:gd name="connsiteX0" fmla="*/ 2291255 w 3641834"/>
                <a:gd name="connsiteY0" fmla="*/ 0 h 2963917"/>
                <a:gd name="connsiteX1" fmla="*/ 3641834 w 3641834"/>
                <a:gd name="connsiteY1" fmla="*/ 1697420 h 2963917"/>
                <a:gd name="connsiteX2" fmla="*/ 0 w 3641834"/>
                <a:gd name="connsiteY2" fmla="*/ 2963917 h 2963917"/>
                <a:gd name="connsiteX3" fmla="*/ 2291255 w 3641834"/>
                <a:gd name="connsiteY3" fmla="*/ 0 h 2963917"/>
                <a:gd name="connsiteX0" fmla="*/ 2301765 w 3641834"/>
                <a:gd name="connsiteY0" fmla="*/ 0 h 2948152"/>
                <a:gd name="connsiteX1" fmla="*/ 3641834 w 3641834"/>
                <a:gd name="connsiteY1" fmla="*/ 1681655 h 2948152"/>
                <a:gd name="connsiteX2" fmla="*/ 0 w 3641834"/>
                <a:gd name="connsiteY2" fmla="*/ 2948152 h 2948152"/>
                <a:gd name="connsiteX3" fmla="*/ 2301765 w 3641834"/>
                <a:gd name="connsiteY3" fmla="*/ 0 h 2948152"/>
                <a:gd name="connsiteX0" fmla="*/ 2293452 w 3641834"/>
                <a:gd name="connsiteY0" fmla="*/ 0 h 2948152"/>
                <a:gd name="connsiteX1" fmla="*/ 3641834 w 3641834"/>
                <a:gd name="connsiteY1" fmla="*/ 1681655 h 2948152"/>
                <a:gd name="connsiteX2" fmla="*/ 0 w 3641834"/>
                <a:gd name="connsiteY2" fmla="*/ 2948152 h 2948152"/>
                <a:gd name="connsiteX3" fmla="*/ 2293452 w 3641834"/>
                <a:gd name="connsiteY3" fmla="*/ 0 h 2948152"/>
                <a:gd name="connsiteX0" fmla="*/ 2305379 w 3653761"/>
                <a:gd name="connsiteY0" fmla="*/ 0 h 2944176"/>
                <a:gd name="connsiteX1" fmla="*/ 3653761 w 3653761"/>
                <a:gd name="connsiteY1" fmla="*/ 1681655 h 2944176"/>
                <a:gd name="connsiteX2" fmla="*/ 0 w 3653761"/>
                <a:gd name="connsiteY2" fmla="*/ 2944176 h 2944176"/>
                <a:gd name="connsiteX3" fmla="*/ 2305379 w 3653761"/>
                <a:gd name="connsiteY3" fmla="*/ 0 h 2944176"/>
                <a:gd name="connsiteX0" fmla="*/ 2291731 w 3653761"/>
                <a:gd name="connsiteY0" fmla="*/ 0 h 2944176"/>
                <a:gd name="connsiteX1" fmla="*/ 3653761 w 3653761"/>
                <a:gd name="connsiteY1" fmla="*/ 1681655 h 2944176"/>
                <a:gd name="connsiteX2" fmla="*/ 0 w 3653761"/>
                <a:gd name="connsiteY2" fmla="*/ 2944176 h 2944176"/>
                <a:gd name="connsiteX3" fmla="*/ 2291731 w 3653761"/>
                <a:gd name="connsiteY3" fmla="*/ 0 h 2944176"/>
                <a:gd name="connsiteX0" fmla="*/ 2305378 w 3653761"/>
                <a:gd name="connsiteY0" fmla="*/ 0 h 2971471"/>
                <a:gd name="connsiteX1" fmla="*/ 3653761 w 3653761"/>
                <a:gd name="connsiteY1" fmla="*/ 1708950 h 2971471"/>
                <a:gd name="connsiteX2" fmla="*/ 0 w 3653761"/>
                <a:gd name="connsiteY2" fmla="*/ 2971471 h 2971471"/>
                <a:gd name="connsiteX3" fmla="*/ 2305378 w 3653761"/>
                <a:gd name="connsiteY3" fmla="*/ 0 h 2971471"/>
                <a:gd name="connsiteX0" fmla="*/ 2305378 w 3694704"/>
                <a:gd name="connsiteY0" fmla="*/ 0 h 2971471"/>
                <a:gd name="connsiteX1" fmla="*/ 3694704 w 3694704"/>
                <a:gd name="connsiteY1" fmla="*/ 1722598 h 2971471"/>
                <a:gd name="connsiteX2" fmla="*/ 0 w 3694704"/>
                <a:gd name="connsiteY2" fmla="*/ 2971471 h 2971471"/>
                <a:gd name="connsiteX3" fmla="*/ 2305378 w 3694704"/>
                <a:gd name="connsiteY3" fmla="*/ 0 h 2971471"/>
                <a:gd name="connsiteX0" fmla="*/ 2319025 w 3708351"/>
                <a:gd name="connsiteY0" fmla="*/ 0 h 2971471"/>
                <a:gd name="connsiteX1" fmla="*/ 3708351 w 3708351"/>
                <a:gd name="connsiteY1" fmla="*/ 1722598 h 2971471"/>
                <a:gd name="connsiteX2" fmla="*/ 0 w 3708351"/>
                <a:gd name="connsiteY2" fmla="*/ 2971471 h 2971471"/>
                <a:gd name="connsiteX3" fmla="*/ 2319025 w 3708351"/>
                <a:gd name="connsiteY3" fmla="*/ 0 h 2971471"/>
              </a:gdLst>
              <a:ahLst/>
              <a:cxnLst>
                <a:cxn ang="0">
                  <a:pos x="connsiteX0" y="connsiteY0"/>
                </a:cxn>
                <a:cxn ang="0">
                  <a:pos x="connsiteX1" y="connsiteY1"/>
                </a:cxn>
                <a:cxn ang="0">
                  <a:pos x="connsiteX2" y="connsiteY2"/>
                </a:cxn>
                <a:cxn ang="0">
                  <a:pos x="connsiteX3" y="connsiteY3"/>
                </a:cxn>
              </a:cxnLst>
              <a:rect l="l" t="t" r="r" b="b"/>
              <a:pathLst>
                <a:path w="3708351" h="2971471">
                  <a:moveTo>
                    <a:pt x="2319025" y="0"/>
                  </a:moveTo>
                  <a:lnTo>
                    <a:pt x="3708351" y="1722598"/>
                  </a:lnTo>
                  <a:lnTo>
                    <a:pt x="0" y="2971471"/>
                  </a:lnTo>
                  <a:lnTo>
                    <a:pt x="2319025" y="0"/>
                  </a:lnTo>
                  <a:close/>
                </a:path>
              </a:pathLst>
            </a:custGeom>
            <a:gradFill>
              <a:gsLst>
                <a:gs pos="100000">
                  <a:schemeClr val="accent3"/>
                </a:gs>
                <a:gs pos="4400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0" name="Freeform 9"/>
            <p:cNvSpPr/>
            <p:nvPr/>
          </p:nvSpPr>
          <p:spPr>
            <a:xfrm>
              <a:off x="-3085" y="0"/>
              <a:ext cx="3366670" cy="1804474"/>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346198"/>
                <a:gd name="connsiteY0" fmla="*/ 0 h 1771137"/>
                <a:gd name="connsiteX1" fmla="*/ 3346198 w 3346198"/>
                <a:gd name="connsiteY1" fmla="*/ 3282 h 1771137"/>
                <a:gd name="connsiteX2" fmla="*/ 3153403 w 3346198"/>
                <a:gd name="connsiteY2" fmla="*/ 1771137 h 1771137"/>
                <a:gd name="connsiteX3" fmla="*/ 0 w 3346198"/>
                <a:gd name="connsiteY3" fmla="*/ 0 h 1771137"/>
                <a:gd name="connsiteX0" fmla="*/ 0 w 3346198"/>
                <a:gd name="connsiteY0" fmla="*/ 0 h 1766374"/>
                <a:gd name="connsiteX1" fmla="*/ 3346198 w 3346198"/>
                <a:gd name="connsiteY1" fmla="*/ 3282 h 1766374"/>
                <a:gd name="connsiteX2" fmla="*/ 3110540 w 3346198"/>
                <a:gd name="connsiteY2" fmla="*/ 1766374 h 1766374"/>
                <a:gd name="connsiteX3" fmla="*/ 0 w 3346198"/>
                <a:gd name="connsiteY3" fmla="*/ 0 h 1766374"/>
                <a:gd name="connsiteX0" fmla="*/ 0 w 3346198"/>
                <a:gd name="connsiteY0" fmla="*/ 0 h 1780662"/>
                <a:gd name="connsiteX1" fmla="*/ 3346198 w 3346198"/>
                <a:gd name="connsiteY1" fmla="*/ 3282 h 1780662"/>
                <a:gd name="connsiteX2" fmla="*/ 3091490 w 3346198"/>
                <a:gd name="connsiteY2" fmla="*/ 1780662 h 1780662"/>
                <a:gd name="connsiteX3" fmla="*/ 0 w 3346198"/>
                <a:gd name="connsiteY3" fmla="*/ 0 h 1780662"/>
                <a:gd name="connsiteX0" fmla="*/ 0 w 3346198"/>
                <a:gd name="connsiteY0" fmla="*/ 0 h 1804474"/>
                <a:gd name="connsiteX1" fmla="*/ 3346198 w 3346198"/>
                <a:gd name="connsiteY1" fmla="*/ 3282 h 1804474"/>
                <a:gd name="connsiteX2" fmla="*/ 3115303 w 3346198"/>
                <a:gd name="connsiteY2" fmla="*/ 1804474 h 1804474"/>
                <a:gd name="connsiteX3" fmla="*/ 0 w 3346198"/>
                <a:gd name="connsiteY3" fmla="*/ 0 h 1804474"/>
                <a:gd name="connsiteX0" fmla="*/ 0 w 3346198"/>
                <a:gd name="connsiteY0" fmla="*/ 10366 h 1801192"/>
                <a:gd name="connsiteX1" fmla="*/ 3346198 w 3346198"/>
                <a:gd name="connsiteY1" fmla="*/ 0 h 1801192"/>
                <a:gd name="connsiteX2" fmla="*/ 3115303 w 3346198"/>
                <a:gd name="connsiteY2" fmla="*/ 1801192 h 1801192"/>
                <a:gd name="connsiteX3" fmla="*/ 0 w 3346198"/>
                <a:gd name="connsiteY3" fmla="*/ 10366 h 1801192"/>
                <a:gd name="connsiteX0" fmla="*/ 0 w 3366670"/>
                <a:gd name="connsiteY0" fmla="*/ 0 h 1818122"/>
                <a:gd name="connsiteX1" fmla="*/ 3366670 w 3366670"/>
                <a:gd name="connsiteY1" fmla="*/ 16930 h 1818122"/>
                <a:gd name="connsiteX2" fmla="*/ 3135775 w 3366670"/>
                <a:gd name="connsiteY2" fmla="*/ 1818122 h 1818122"/>
                <a:gd name="connsiteX3" fmla="*/ 0 w 3366670"/>
                <a:gd name="connsiteY3" fmla="*/ 0 h 1818122"/>
                <a:gd name="connsiteX0" fmla="*/ 0 w 3363258"/>
                <a:gd name="connsiteY0" fmla="*/ 0 h 1811298"/>
                <a:gd name="connsiteX1" fmla="*/ 3363258 w 3363258"/>
                <a:gd name="connsiteY1" fmla="*/ 10106 h 1811298"/>
                <a:gd name="connsiteX2" fmla="*/ 3132363 w 3363258"/>
                <a:gd name="connsiteY2" fmla="*/ 1811298 h 1811298"/>
                <a:gd name="connsiteX3" fmla="*/ 0 w 3363258"/>
                <a:gd name="connsiteY3" fmla="*/ 0 h 1811298"/>
                <a:gd name="connsiteX0" fmla="*/ 0 w 3363258"/>
                <a:gd name="connsiteY0" fmla="*/ 0 h 1807886"/>
                <a:gd name="connsiteX1" fmla="*/ 3363258 w 3363258"/>
                <a:gd name="connsiteY1" fmla="*/ 6694 h 1807886"/>
                <a:gd name="connsiteX2" fmla="*/ 3132363 w 3363258"/>
                <a:gd name="connsiteY2" fmla="*/ 1807886 h 1807886"/>
                <a:gd name="connsiteX3" fmla="*/ 0 w 3363258"/>
                <a:gd name="connsiteY3" fmla="*/ 0 h 1807886"/>
                <a:gd name="connsiteX0" fmla="*/ 0 w 3363258"/>
                <a:gd name="connsiteY0" fmla="*/ 3542 h 1801192"/>
                <a:gd name="connsiteX1" fmla="*/ 3363258 w 3363258"/>
                <a:gd name="connsiteY1" fmla="*/ 0 h 1801192"/>
                <a:gd name="connsiteX2" fmla="*/ 3132363 w 3363258"/>
                <a:gd name="connsiteY2" fmla="*/ 1801192 h 1801192"/>
                <a:gd name="connsiteX3" fmla="*/ 0 w 3363258"/>
                <a:gd name="connsiteY3" fmla="*/ 3542 h 1801192"/>
                <a:gd name="connsiteX0" fmla="*/ 0 w 3366670"/>
                <a:gd name="connsiteY0" fmla="*/ 0 h 1804474"/>
                <a:gd name="connsiteX1" fmla="*/ 3366670 w 3366670"/>
                <a:gd name="connsiteY1" fmla="*/ 3282 h 1804474"/>
                <a:gd name="connsiteX2" fmla="*/ 3135775 w 3366670"/>
                <a:gd name="connsiteY2" fmla="*/ 1804474 h 1804474"/>
                <a:gd name="connsiteX3" fmla="*/ 0 w 3366670"/>
                <a:gd name="connsiteY3" fmla="*/ 0 h 1804474"/>
              </a:gdLst>
              <a:ahLst/>
              <a:cxnLst>
                <a:cxn ang="0">
                  <a:pos x="connsiteX0" y="connsiteY0"/>
                </a:cxn>
                <a:cxn ang="0">
                  <a:pos x="connsiteX1" y="connsiteY1"/>
                </a:cxn>
                <a:cxn ang="0">
                  <a:pos x="connsiteX2" y="connsiteY2"/>
                </a:cxn>
                <a:cxn ang="0">
                  <a:pos x="connsiteX3" y="connsiteY3"/>
                </a:cxn>
              </a:cxnLst>
              <a:rect l="l" t="t" r="r" b="b"/>
              <a:pathLst>
                <a:path w="3366670" h="1804474">
                  <a:moveTo>
                    <a:pt x="0" y="0"/>
                  </a:moveTo>
                  <a:lnTo>
                    <a:pt x="3366670" y="3282"/>
                  </a:lnTo>
                  <a:lnTo>
                    <a:pt x="3135775" y="1804474"/>
                  </a:lnTo>
                  <a:lnTo>
                    <a:pt x="0" y="0"/>
                  </a:lnTo>
                  <a:close/>
                </a:path>
              </a:pathLst>
            </a:custGeom>
            <a:gradFill>
              <a:gsLst>
                <a:gs pos="100000">
                  <a:schemeClr val="accent3"/>
                </a:gs>
                <a:gs pos="39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1" name="Freeform 10"/>
            <p:cNvSpPr/>
            <p:nvPr/>
          </p:nvSpPr>
          <p:spPr>
            <a:xfrm>
              <a:off x="3111696" y="1778988"/>
              <a:ext cx="3269644" cy="3085357"/>
            </a:xfrm>
            <a:custGeom>
              <a:avLst/>
              <a:gdLst>
                <a:gd name="connsiteX0" fmla="*/ 0 w 3237186"/>
                <a:gd name="connsiteY0" fmla="*/ 0 h 3095296"/>
                <a:gd name="connsiteX1" fmla="*/ 441434 w 3237186"/>
                <a:gd name="connsiteY1" fmla="*/ 3095296 h 3095296"/>
                <a:gd name="connsiteX2" fmla="*/ 3237186 w 3237186"/>
                <a:gd name="connsiteY2" fmla="*/ 1255986 h 3095296"/>
                <a:gd name="connsiteX3" fmla="*/ 0 w 3237186"/>
                <a:gd name="connsiteY3" fmla="*/ 0 h 3095296"/>
                <a:gd name="connsiteX0" fmla="*/ 0 w 3237186"/>
                <a:gd name="connsiteY0" fmla="*/ 0 h 3109584"/>
                <a:gd name="connsiteX1" fmla="*/ 441434 w 3237186"/>
                <a:gd name="connsiteY1" fmla="*/ 3109584 h 3109584"/>
                <a:gd name="connsiteX2" fmla="*/ 3237186 w 3237186"/>
                <a:gd name="connsiteY2" fmla="*/ 1270274 h 3109584"/>
                <a:gd name="connsiteX3" fmla="*/ 0 w 3237186"/>
                <a:gd name="connsiteY3" fmla="*/ 0 h 3109584"/>
                <a:gd name="connsiteX0" fmla="*/ 0 w 3237186"/>
                <a:gd name="connsiteY0" fmla="*/ 0 h 3085764"/>
                <a:gd name="connsiteX1" fmla="*/ 441434 w 3237186"/>
                <a:gd name="connsiteY1" fmla="*/ 3085764 h 3085764"/>
                <a:gd name="connsiteX2" fmla="*/ 3237186 w 3237186"/>
                <a:gd name="connsiteY2" fmla="*/ 1246454 h 3085764"/>
                <a:gd name="connsiteX3" fmla="*/ 0 w 3237186"/>
                <a:gd name="connsiteY3" fmla="*/ 0 h 3085764"/>
                <a:gd name="connsiteX0" fmla="*/ 0 w 3255520"/>
                <a:gd name="connsiteY0" fmla="*/ 0 h 3085764"/>
                <a:gd name="connsiteX1" fmla="*/ 441434 w 3255520"/>
                <a:gd name="connsiteY1" fmla="*/ 3085764 h 3085764"/>
                <a:gd name="connsiteX2" fmla="*/ 3255520 w 3255520"/>
                <a:gd name="connsiteY2" fmla="*/ 1239108 h 3085764"/>
                <a:gd name="connsiteX3" fmla="*/ 0 w 3255520"/>
                <a:gd name="connsiteY3" fmla="*/ 0 h 3085764"/>
                <a:gd name="connsiteX0" fmla="*/ 0 w 3255520"/>
                <a:gd name="connsiteY0" fmla="*/ 0 h 3088940"/>
                <a:gd name="connsiteX1" fmla="*/ 460457 w 3255520"/>
                <a:gd name="connsiteY1" fmla="*/ 3088940 h 3088940"/>
                <a:gd name="connsiteX2" fmla="*/ 3255520 w 3255520"/>
                <a:gd name="connsiteY2" fmla="*/ 1239108 h 3088940"/>
                <a:gd name="connsiteX3" fmla="*/ 0 w 3255520"/>
                <a:gd name="connsiteY3" fmla="*/ 0 h 3088940"/>
                <a:gd name="connsiteX0" fmla="*/ 0 w 3262334"/>
                <a:gd name="connsiteY0" fmla="*/ 0 h 3088940"/>
                <a:gd name="connsiteX1" fmla="*/ 460457 w 3262334"/>
                <a:gd name="connsiteY1" fmla="*/ 3088940 h 3088940"/>
                <a:gd name="connsiteX2" fmla="*/ 3262334 w 3262334"/>
                <a:gd name="connsiteY2" fmla="*/ 1239108 h 3088940"/>
                <a:gd name="connsiteX3" fmla="*/ 0 w 3262334"/>
                <a:gd name="connsiteY3" fmla="*/ 0 h 3088940"/>
                <a:gd name="connsiteX0" fmla="*/ 0 w 3264905"/>
                <a:gd name="connsiteY0" fmla="*/ 0 h 3086363"/>
                <a:gd name="connsiteX1" fmla="*/ 463028 w 3264905"/>
                <a:gd name="connsiteY1" fmla="*/ 3086363 h 3086363"/>
                <a:gd name="connsiteX2" fmla="*/ 3264905 w 3264905"/>
                <a:gd name="connsiteY2" fmla="*/ 1236531 h 3086363"/>
                <a:gd name="connsiteX3" fmla="*/ 0 w 3264905"/>
                <a:gd name="connsiteY3" fmla="*/ 0 h 3086363"/>
              </a:gdLst>
              <a:ahLst/>
              <a:cxnLst>
                <a:cxn ang="0">
                  <a:pos x="connsiteX0" y="connsiteY0"/>
                </a:cxn>
                <a:cxn ang="0">
                  <a:pos x="connsiteX1" y="connsiteY1"/>
                </a:cxn>
                <a:cxn ang="0">
                  <a:pos x="connsiteX2" y="connsiteY2"/>
                </a:cxn>
                <a:cxn ang="0">
                  <a:pos x="connsiteX3" y="connsiteY3"/>
                </a:cxn>
              </a:cxnLst>
              <a:rect l="l" t="t" r="r" b="b"/>
              <a:pathLst>
                <a:path w="3264905" h="3086363">
                  <a:moveTo>
                    <a:pt x="0" y="0"/>
                  </a:moveTo>
                  <a:lnTo>
                    <a:pt x="463028" y="3086363"/>
                  </a:lnTo>
                  <a:lnTo>
                    <a:pt x="3264905" y="1236531"/>
                  </a:lnTo>
                  <a:lnTo>
                    <a:pt x="0"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2" name="Freeform 11"/>
            <p:cNvSpPr/>
            <p:nvPr/>
          </p:nvSpPr>
          <p:spPr>
            <a:xfrm>
              <a:off x="7713406" y="2411362"/>
              <a:ext cx="1983659" cy="4457360"/>
            </a:xfrm>
            <a:custGeom>
              <a:avLst/>
              <a:gdLst>
                <a:gd name="connsiteX0" fmla="*/ 1983659 w 1983659"/>
                <a:gd name="connsiteY0" fmla="*/ 0 h 4431891"/>
                <a:gd name="connsiteX1" fmla="*/ 1032388 w 1983659"/>
                <a:gd name="connsiteY1" fmla="*/ 4431891 h 4431891"/>
                <a:gd name="connsiteX2" fmla="*/ 0 w 1983659"/>
                <a:gd name="connsiteY2" fmla="*/ 2286000 h 4431891"/>
                <a:gd name="connsiteX3" fmla="*/ 1983659 w 1983659"/>
                <a:gd name="connsiteY3" fmla="*/ 0 h 4431891"/>
                <a:gd name="connsiteX0" fmla="*/ 1983659 w 1983659"/>
                <a:gd name="connsiteY0" fmla="*/ 0 h 4439842"/>
                <a:gd name="connsiteX1" fmla="*/ 1000583 w 1983659"/>
                <a:gd name="connsiteY1" fmla="*/ 4439842 h 4439842"/>
                <a:gd name="connsiteX2" fmla="*/ 0 w 1983659"/>
                <a:gd name="connsiteY2" fmla="*/ 2286000 h 4439842"/>
                <a:gd name="connsiteX3" fmla="*/ 1983659 w 1983659"/>
                <a:gd name="connsiteY3" fmla="*/ 0 h 4439842"/>
                <a:gd name="connsiteX0" fmla="*/ 1983659 w 1983659"/>
                <a:gd name="connsiteY0" fmla="*/ 0 h 4447794"/>
                <a:gd name="connsiteX1" fmla="*/ 1000583 w 1983659"/>
                <a:gd name="connsiteY1" fmla="*/ 4447794 h 4447794"/>
                <a:gd name="connsiteX2" fmla="*/ 0 w 1983659"/>
                <a:gd name="connsiteY2" fmla="*/ 2286000 h 4447794"/>
                <a:gd name="connsiteX3" fmla="*/ 1983659 w 1983659"/>
                <a:gd name="connsiteY3" fmla="*/ 0 h 4447794"/>
                <a:gd name="connsiteX0" fmla="*/ 1983659 w 1983659"/>
                <a:gd name="connsiteY0" fmla="*/ 0 h 4471648"/>
                <a:gd name="connsiteX1" fmla="*/ 1000583 w 1983659"/>
                <a:gd name="connsiteY1" fmla="*/ 4471648 h 4471648"/>
                <a:gd name="connsiteX2" fmla="*/ 0 w 1983659"/>
                <a:gd name="connsiteY2" fmla="*/ 2286000 h 4471648"/>
                <a:gd name="connsiteX3" fmla="*/ 1983659 w 1983659"/>
                <a:gd name="connsiteY3" fmla="*/ 0 h 4471648"/>
                <a:gd name="connsiteX0" fmla="*/ 1983659 w 1983659"/>
                <a:gd name="connsiteY0" fmla="*/ 0 h 4457360"/>
                <a:gd name="connsiteX1" fmla="*/ 995820 w 1983659"/>
                <a:gd name="connsiteY1" fmla="*/ 4457360 h 4457360"/>
                <a:gd name="connsiteX2" fmla="*/ 0 w 1983659"/>
                <a:gd name="connsiteY2" fmla="*/ 2286000 h 4457360"/>
                <a:gd name="connsiteX3" fmla="*/ 1983659 w 1983659"/>
                <a:gd name="connsiteY3" fmla="*/ 0 h 4457360"/>
                <a:gd name="connsiteX0" fmla="*/ 1983659 w 1983659"/>
                <a:gd name="connsiteY0" fmla="*/ 0 h 4457360"/>
                <a:gd name="connsiteX1" fmla="*/ 991058 w 1983659"/>
                <a:gd name="connsiteY1" fmla="*/ 4457360 h 4457360"/>
                <a:gd name="connsiteX2" fmla="*/ 0 w 1983659"/>
                <a:gd name="connsiteY2" fmla="*/ 2286000 h 4457360"/>
                <a:gd name="connsiteX3" fmla="*/ 1983659 w 1983659"/>
                <a:gd name="connsiteY3" fmla="*/ 0 h 4457360"/>
              </a:gdLst>
              <a:ahLst/>
              <a:cxnLst>
                <a:cxn ang="0">
                  <a:pos x="connsiteX0" y="connsiteY0"/>
                </a:cxn>
                <a:cxn ang="0">
                  <a:pos x="connsiteX1" y="connsiteY1"/>
                </a:cxn>
                <a:cxn ang="0">
                  <a:pos x="connsiteX2" y="connsiteY2"/>
                </a:cxn>
                <a:cxn ang="0">
                  <a:pos x="connsiteX3" y="connsiteY3"/>
                </a:cxn>
              </a:cxnLst>
              <a:rect l="l" t="t" r="r" b="b"/>
              <a:pathLst>
                <a:path w="1983659" h="4457360">
                  <a:moveTo>
                    <a:pt x="1983659" y="0"/>
                  </a:moveTo>
                  <a:lnTo>
                    <a:pt x="991058" y="4457360"/>
                  </a:lnTo>
                  <a:lnTo>
                    <a:pt x="0" y="2286000"/>
                  </a:lnTo>
                  <a:lnTo>
                    <a:pt x="1983659" y="0"/>
                  </a:lnTo>
                  <a:close/>
                </a:path>
              </a:pathLst>
            </a:custGeom>
            <a:gradFill>
              <a:gsLst>
                <a:gs pos="100000">
                  <a:schemeClr val="accent3"/>
                </a:gs>
                <a:gs pos="36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3" name="Freeform 12"/>
            <p:cNvSpPr/>
            <p:nvPr/>
          </p:nvSpPr>
          <p:spPr>
            <a:xfrm>
              <a:off x="6341757" y="1209676"/>
              <a:ext cx="3359456" cy="1822946"/>
            </a:xfrm>
            <a:custGeom>
              <a:avLst/>
              <a:gdLst>
                <a:gd name="connsiteX0" fmla="*/ 1271587 w 3305175"/>
                <a:gd name="connsiteY0" fmla="*/ 0 h 1809750"/>
                <a:gd name="connsiteX1" fmla="*/ 3305175 w 3305175"/>
                <a:gd name="connsiteY1" fmla="*/ 1233487 h 1809750"/>
                <a:gd name="connsiteX2" fmla="*/ 0 w 3305175"/>
                <a:gd name="connsiteY2" fmla="*/ 1809750 h 1809750"/>
                <a:gd name="connsiteX3" fmla="*/ 1271587 w 3305175"/>
                <a:gd name="connsiteY3" fmla="*/ 0 h 1809750"/>
                <a:gd name="connsiteX0" fmla="*/ 1281112 w 3314700"/>
                <a:gd name="connsiteY0" fmla="*/ 0 h 1828800"/>
                <a:gd name="connsiteX1" fmla="*/ 3314700 w 3314700"/>
                <a:gd name="connsiteY1" fmla="*/ 1233487 h 1828800"/>
                <a:gd name="connsiteX2" fmla="*/ 0 w 3314700"/>
                <a:gd name="connsiteY2" fmla="*/ 1828800 h 1828800"/>
                <a:gd name="connsiteX3" fmla="*/ 1281112 w 3314700"/>
                <a:gd name="connsiteY3" fmla="*/ 0 h 1828800"/>
                <a:gd name="connsiteX0" fmla="*/ 1300162 w 3333750"/>
                <a:gd name="connsiteY0" fmla="*/ 0 h 1824037"/>
                <a:gd name="connsiteX1" fmla="*/ 3333750 w 3333750"/>
                <a:gd name="connsiteY1" fmla="*/ 1233487 h 1824037"/>
                <a:gd name="connsiteX2" fmla="*/ 0 w 3333750"/>
                <a:gd name="connsiteY2" fmla="*/ 1824037 h 1824037"/>
                <a:gd name="connsiteX3" fmla="*/ 1300162 w 3333750"/>
                <a:gd name="connsiteY3" fmla="*/ 0 h 1824037"/>
                <a:gd name="connsiteX0" fmla="*/ 1314449 w 3333750"/>
                <a:gd name="connsiteY0" fmla="*/ 0 h 1381124"/>
                <a:gd name="connsiteX1" fmla="*/ 3333750 w 3333750"/>
                <a:gd name="connsiteY1" fmla="*/ 790574 h 1381124"/>
                <a:gd name="connsiteX2" fmla="*/ 0 w 3333750"/>
                <a:gd name="connsiteY2" fmla="*/ 1381124 h 1381124"/>
                <a:gd name="connsiteX3" fmla="*/ 1314449 w 3333750"/>
                <a:gd name="connsiteY3" fmla="*/ 0 h 138112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Lst>
              <a:ahLst/>
              <a:cxnLst>
                <a:cxn ang="0">
                  <a:pos x="connsiteX0" y="connsiteY0"/>
                </a:cxn>
                <a:cxn ang="0">
                  <a:pos x="connsiteX1" y="connsiteY1"/>
                </a:cxn>
                <a:cxn ang="0">
                  <a:pos x="connsiteX2" y="connsiteY2"/>
                </a:cxn>
                <a:cxn ang="0">
                  <a:pos x="connsiteX3" y="connsiteY3"/>
                </a:cxn>
              </a:cxnLst>
              <a:rect l="l" t="t" r="r" b="b"/>
              <a:pathLst>
                <a:path w="3359456" h="1822946">
                  <a:moveTo>
                    <a:pt x="1325868" y="0"/>
                  </a:moveTo>
                  <a:lnTo>
                    <a:pt x="3359456" y="1228724"/>
                  </a:lnTo>
                  <a:lnTo>
                    <a:pt x="0" y="1822946"/>
                  </a:lnTo>
                  <a:lnTo>
                    <a:pt x="1325868"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4" name="Freeform 13"/>
            <p:cNvSpPr/>
            <p:nvPr/>
          </p:nvSpPr>
          <p:spPr>
            <a:xfrm>
              <a:off x="-227" y="-2"/>
              <a:ext cx="1040749" cy="6875699"/>
            </a:xfrm>
            <a:custGeom>
              <a:avLst/>
              <a:gdLst>
                <a:gd name="connsiteX0" fmla="*/ 0 w 1076445"/>
                <a:gd name="connsiteY0" fmla="*/ 0 h 6817489"/>
                <a:gd name="connsiteX1" fmla="*/ 1076445 w 1076445"/>
                <a:gd name="connsiteY1" fmla="*/ 1805651 h 6817489"/>
                <a:gd name="connsiteX2" fmla="*/ 11574 w 1076445"/>
                <a:gd name="connsiteY2" fmla="*/ 6817489 h 6817489"/>
                <a:gd name="connsiteX3" fmla="*/ 0 w 1076445"/>
                <a:gd name="connsiteY3" fmla="*/ 0 h 6817489"/>
                <a:gd name="connsiteX0" fmla="*/ 0 w 873245"/>
                <a:gd name="connsiteY0" fmla="*/ 0 h 6817489"/>
                <a:gd name="connsiteX1" fmla="*/ 873245 w 873245"/>
                <a:gd name="connsiteY1" fmla="*/ 1764376 h 6817489"/>
                <a:gd name="connsiteX2" fmla="*/ 11574 w 873245"/>
                <a:gd name="connsiteY2" fmla="*/ 6817489 h 6817489"/>
                <a:gd name="connsiteX3" fmla="*/ 0 w 873245"/>
                <a:gd name="connsiteY3" fmla="*/ 0 h 6817489"/>
                <a:gd name="connsiteX0" fmla="*/ 0 w 1047870"/>
                <a:gd name="connsiteY0" fmla="*/ 0 h 6817489"/>
                <a:gd name="connsiteX1" fmla="*/ 1047870 w 1047870"/>
                <a:gd name="connsiteY1" fmla="*/ 1770726 h 6817489"/>
                <a:gd name="connsiteX2" fmla="*/ 11574 w 1047870"/>
                <a:gd name="connsiteY2" fmla="*/ 6817489 h 6817489"/>
                <a:gd name="connsiteX3" fmla="*/ 0 w 1047870"/>
                <a:gd name="connsiteY3" fmla="*/ 0 h 6817489"/>
                <a:gd name="connsiteX0" fmla="*/ 0 w 698013"/>
                <a:gd name="connsiteY0" fmla="*/ 0 h 6817489"/>
                <a:gd name="connsiteX1" fmla="*/ 698013 w 698013"/>
                <a:gd name="connsiteY1" fmla="*/ 2181752 h 6817489"/>
                <a:gd name="connsiteX2" fmla="*/ 11574 w 698013"/>
                <a:gd name="connsiteY2" fmla="*/ 6817489 h 6817489"/>
                <a:gd name="connsiteX3" fmla="*/ 0 w 698013"/>
                <a:gd name="connsiteY3" fmla="*/ 0 h 6817489"/>
                <a:gd name="connsiteX0" fmla="*/ 0 w 1039919"/>
                <a:gd name="connsiteY0" fmla="*/ 0 h 6817489"/>
                <a:gd name="connsiteX1" fmla="*/ 1039919 w 1039919"/>
                <a:gd name="connsiteY1" fmla="*/ 1762823 h 6817489"/>
                <a:gd name="connsiteX2" fmla="*/ 11574 w 1039919"/>
                <a:gd name="connsiteY2" fmla="*/ 6817489 h 6817489"/>
                <a:gd name="connsiteX3" fmla="*/ 0 w 1039919"/>
                <a:gd name="connsiteY3" fmla="*/ 0 h 6817489"/>
                <a:gd name="connsiteX0" fmla="*/ 0 w 823788"/>
                <a:gd name="connsiteY0" fmla="*/ 0 h 6817489"/>
                <a:gd name="connsiteX1" fmla="*/ 823788 w 823788"/>
                <a:gd name="connsiteY1" fmla="*/ 1820668 h 6817489"/>
                <a:gd name="connsiteX2" fmla="*/ 11574 w 823788"/>
                <a:gd name="connsiteY2" fmla="*/ 6817489 h 6817489"/>
                <a:gd name="connsiteX3" fmla="*/ 0 w 823788"/>
                <a:gd name="connsiteY3" fmla="*/ 0 h 6817489"/>
                <a:gd name="connsiteX0" fmla="*/ 0 w 1035762"/>
                <a:gd name="connsiteY0" fmla="*/ 0 h 6817489"/>
                <a:gd name="connsiteX1" fmla="*/ 1035762 w 1035762"/>
                <a:gd name="connsiteY1" fmla="*/ 1766955 h 6817489"/>
                <a:gd name="connsiteX2" fmla="*/ 11574 w 1035762"/>
                <a:gd name="connsiteY2" fmla="*/ 6817489 h 6817489"/>
                <a:gd name="connsiteX3" fmla="*/ 0 w 1035762"/>
                <a:gd name="connsiteY3" fmla="*/ 0 h 6817489"/>
                <a:gd name="connsiteX0" fmla="*/ 0 w 1040524"/>
                <a:gd name="connsiteY0" fmla="*/ 0 h 6817489"/>
                <a:gd name="connsiteX1" fmla="*/ 1040524 w 1040524"/>
                <a:gd name="connsiteY1" fmla="*/ 1762221 h 6817489"/>
                <a:gd name="connsiteX2" fmla="*/ 11574 w 1040524"/>
                <a:gd name="connsiteY2" fmla="*/ 6817489 h 6817489"/>
                <a:gd name="connsiteX3" fmla="*/ 0 w 1040524"/>
                <a:gd name="connsiteY3" fmla="*/ 0 h 6817489"/>
                <a:gd name="connsiteX0" fmla="*/ 225 w 1040749"/>
                <a:gd name="connsiteY0" fmla="*/ 0 h 6858541"/>
                <a:gd name="connsiteX1" fmla="*/ 1040749 w 1040749"/>
                <a:gd name="connsiteY1" fmla="*/ 1762221 h 6858541"/>
                <a:gd name="connsiteX2" fmla="*/ 0 w 1040749"/>
                <a:gd name="connsiteY2" fmla="*/ 6858541 h 6858541"/>
                <a:gd name="connsiteX3" fmla="*/ 225 w 1040749"/>
                <a:gd name="connsiteY3" fmla="*/ 0 h 6858541"/>
                <a:gd name="connsiteX0" fmla="*/ 225 w 1040749"/>
                <a:gd name="connsiteY0" fmla="*/ 0 h 6835083"/>
                <a:gd name="connsiteX1" fmla="*/ 1040749 w 1040749"/>
                <a:gd name="connsiteY1" fmla="*/ 1762221 h 6835083"/>
                <a:gd name="connsiteX2" fmla="*/ 0 w 1040749"/>
                <a:gd name="connsiteY2" fmla="*/ 6835083 h 6835083"/>
                <a:gd name="connsiteX3" fmla="*/ 225 w 1040749"/>
                <a:gd name="connsiteY3" fmla="*/ 0 h 6835083"/>
              </a:gdLst>
              <a:ahLst/>
              <a:cxnLst>
                <a:cxn ang="0">
                  <a:pos x="connsiteX0" y="connsiteY0"/>
                </a:cxn>
                <a:cxn ang="0">
                  <a:pos x="connsiteX1" y="connsiteY1"/>
                </a:cxn>
                <a:cxn ang="0">
                  <a:pos x="connsiteX2" y="connsiteY2"/>
                </a:cxn>
                <a:cxn ang="0">
                  <a:pos x="connsiteX3" y="connsiteY3"/>
                </a:cxn>
              </a:cxnLst>
              <a:rect l="l" t="t" r="r" b="b"/>
              <a:pathLst>
                <a:path w="1040749" h="6835083">
                  <a:moveTo>
                    <a:pt x="225" y="0"/>
                  </a:moveTo>
                  <a:lnTo>
                    <a:pt x="1040749" y="1762221"/>
                  </a:lnTo>
                  <a:lnTo>
                    <a:pt x="0" y="6835083"/>
                  </a:lnTo>
                  <a:lnTo>
                    <a:pt x="225" y="0"/>
                  </a:lnTo>
                  <a:close/>
                </a:path>
              </a:pathLst>
            </a:custGeom>
            <a:gradFill>
              <a:gsLst>
                <a:gs pos="96000">
                  <a:schemeClr val="accent3"/>
                </a:gs>
                <a:gs pos="18000">
                  <a:schemeClr val="accent2"/>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5" name="Freeform 14"/>
            <p:cNvSpPr/>
            <p:nvPr/>
          </p:nvSpPr>
          <p:spPr>
            <a:xfrm>
              <a:off x="3119436" y="-1"/>
              <a:ext cx="3260163" cy="3022037"/>
            </a:xfrm>
            <a:custGeom>
              <a:avLst/>
              <a:gdLst>
                <a:gd name="connsiteX0" fmla="*/ 185737 w 3228975"/>
                <a:gd name="connsiteY0" fmla="*/ 0 h 3024188"/>
                <a:gd name="connsiteX1" fmla="*/ 0 w 3228975"/>
                <a:gd name="connsiteY1" fmla="*/ 1771650 h 3024188"/>
                <a:gd name="connsiteX2" fmla="*/ 3228975 w 3228975"/>
                <a:gd name="connsiteY2" fmla="*/ 3024188 h 3024188"/>
                <a:gd name="connsiteX3" fmla="*/ 185737 w 3228975"/>
                <a:gd name="connsiteY3"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1976437 w 3228975"/>
                <a:gd name="connsiteY3" fmla="*/ 1776413 h 3024188"/>
                <a:gd name="connsiteX4" fmla="*/ 185737 w 3228975"/>
                <a:gd name="connsiteY4"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2733674 w 3228975"/>
                <a:gd name="connsiteY3" fmla="*/ 1281113 h 3024188"/>
                <a:gd name="connsiteX4" fmla="*/ 185737 w 3228975"/>
                <a:gd name="connsiteY4" fmla="*/ 0 h 3024188"/>
                <a:gd name="connsiteX0" fmla="*/ 185737 w 3181350"/>
                <a:gd name="connsiteY0" fmla="*/ 0 h 2481263"/>
                <a:gd name="connsiteX1" fmla="*/ 0 w 3181350"/>
                <a:gd name="connsiteY1" fmla="*/ 1771650 h 2481263"/>
                <a:gd name="connsiteX2" fmla="*/ 3181350 w 3181350"/>
                <a:gd name="connsiteY2" fmla="*/ 2481263 h 2481263"/>
                <a:gd name="connsiteX3" fmla="*/ 2733674 w 3181350"/>
                <a:gd name="connsiteY3" fmla="*/ 1281113 h 2481263"/>
                <a:gd name="connsiteX4" fmla="*/ 185737 w 3181350"/>
                <a:gd name="connsiteY4" fmla="*/ 0 h 24812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1113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5876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185737 w 3214688"/>
                <a:gd name="connsiteY3" fmla="*/ 0 h 3014663"/>
                <a:gd name="connsiteX0" fmla="*/ 190500 w 3219451"/>
                <a:gd name="connsiteY0" fmla="*/ 0 h 3014663"/>
                <a:gd name="connsiteX1" fmla="*/ 0 w 3219451"/>
                <a:gd name="connsiteY1" fmla="*/ 1781175 h 3014663"/>
                <a:gd name="connsiteX2" fmla="*/ 3219451 w 3219451"/>
                <a:gd name="connsiteY2" fmla="*/ 3014663 h 3014663"/>
                <a:gd name="connsiteX3" fmla="*/ 190500 w 3219451"/>
                <a:gd name="connsiteY3" fmla="*/ 0 h 3014663"/>
                <a:gd name="connsiteX0" fmla="*/ 190500 w 3219451"/>
                <a:gd name="connsiteY0" fmla="*/ 0 h 3014663"/>
                <a:gd name="connsiteX1" fmla="*/ 0 w 3219451"/>
                <a:gd name="connsiteY1" fmla="*/ 1766887 h 3014663"/>
                <a:gd name="connsiteX2" fmla="*/ 3219451 w 3219451"/>
                <a:gd name="connsiteY2" fmla="*/ 3014663 h 3014663"/>
                <a:gd name="connsiteX3" fmla="*/ 190500 w 3219451"/>
                <a:gd name="connsiteY3" fmla="*/ 0 h 3014663"/>
                <a:gd name="connsiteX0" fmla="*/ 223838 w 3252789"/>
                <a:gd name="connsiteY0" fmla="*/ 0 h 3014663"/>
                <a:gd name="connsiteX1" fmla="*/ 0 w 3252789"/>
                <a:gd name="connsiteY1" fmla="*/ 1771650 h 3014663"/>
                <a:gd name="connsiteX2" fmla="*/ 3252789 w 3252789"/>
                <a:gd name="connsiteY2" fmla="*/ 3014663 h 3014663"/>
                <a:gd name="connsiteX3" fmla="*/ 223838 w 3252789"/>
                <a:gd name="connsiteY3" fmla="*/ 0 h 3014663"/>
                <a:gd name="connsiteX0" fmla="*/ 223838 w 3252789"/>
                <a:gd name="connsiteY0" fmla="*/ 0 h 3014663"/>
                <a:gd name="connsiteX1" fmla="*/ 0 w 3252789"/>
                <a:gd name="connsiteY1" fmla="*/ 1790700 h 3014663"/>
                <a:gd name="connsiteX2" fmla="*/ 3252789 w 3252789"/>
                <a:gd name="connsiteY2" fmla="*/ 3014663 h 3014663"/>
                <a:gd name="connsiteX3" fmla="*/ 223838 w 3252789"/>
                <a:gd name="connsiteY3" fmla="*/ 0 h 3014663"/>
                <a:gd name="connsiteX0" fmla="*/ 223838 w 3252789"/>
                <a:gd name="connsiteY0" fmla="*/ 0 h 3022037"/>
                <a:gd name="connsiteX1" fmla="*/ 0 w 3252789"/>
                <a:gd name="connsiteY1" fmla="*/ 1790700 h 3022037"/>
                <a:gd name="connsiteX2" fmla="*/ 3252789 w 3252789"/>
                <a:gd name="connsiteY2" fmla="*/ 3022037 h 3022037"/>
                <a:gd name="connsiteX3" fmla="*/ 223838 w 3252789"/>
                <a:gd name="connsiteY3" fmla="*/ 0 h 3022037"/>
                <a:gd name="connsiteX0" fmla="*/ 223838 w 3260163"/>
                <a:gd name="connsiteY0" fmla="*/ 0 h 3014663"/>
                <a:gd name="connsiteX1" fmla="*/ 0 w 3260163"/>
                <a:gd name="connsiteY1" fmla="*/ 1790700 h 3014663"/>
                <a:gd name="connsiteX2" fmla="*/ 3260163 w 3260163"/>
                <a:gd name="connsiteY2" fmla="*/ 3014663 h 3014663"/>
                <a:gd name="connsiteX3" fmla="*/ 223838 w 3260163"/>
                <a:gd name="connsiteY3" fmla="*/ 0 h 3014663"/>
                <a:gd name="connsiteX0" fmla="*/ 223838 w 3260163"/>
                <a:gd name="connsiteY0" fmla="*/ 0 h 3022037"/>
                <a:gd name="connsiteX1" fmla="*/ 0 w 3260163"/>
                <a:gd name="connsiteY1" fmla="*/ 1790700 h 3022037"/>
                <a:gd name="connsiteX2" fmla="*/ 3260163 w 3260163"/>
                <a:gd name="connsiteY2" fmla="*/ 3022037 h 3022037"/>
                <a:gd name="connsiteX3" fmla="*/ 223838 w 3260163"/>
                <a:gd name="connsiteY3" fmla="*/ 0 h 3022037"/>
              </a:gdLst>
              <a:ahLst/>
              <a:cxnLst>
                <a:cxn ang="0">
                  <a:pos x="connsiteX0" y="connsiteY0"/>
                </a:cxn>
                <a:cxn ang="0">
                  <a:pos x="connsiteX1" y="connsiteY1"/>
                </a:cxn>
                <a:cxn ang="0">
                  <a:pos x="connsiteX2" y="connsiteY2"/>
                </a:cxn>
                <a:cxn ang="0">
                  <a:pos x="connsiteX3" y="connsiteY3"/>
                </a:cxn>
              </a:cxnLst>
              <a:rect l="l" t="t" r="r" b="b"/>
              <a:pathLst>
                <a:path w="3260163" h="3022037">
                  <a:moveTo>
                    <a:pt x="223838" y="0"/>
                  </a:moveTo>
                  <a:lnTo>
                    <a:pt x="0" y="1790700"/>
                  </a:lnTo>
                  <a:lnTo>
                    <a:pt x="3260163" y="3022037"/>
                  </a:lnTo>
                  <a:lnTo>
                    <a:pt x="223838" y="0"/>
                  </a:lnTo>
                  <a:close/>
                </a:path>
              </a:pathLst>
            </a:custGeom>
            <a:gradFill>
              <a:gsLst>
                <a:gs pos="100000">
                  <a:schemeClr val="accent3"/>
                </a:gs>
                <a:gs pos="6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6" name="Freeform 15"/>
            <p:cNvSpPr/>
            <p:nvPr/>
          </p:nvSpPr>
          <p:spPr>
            <a:xfrm>
              <a:off x="3343275" y="0"/>
              <a:ext cx="4337998" cy="3019426"/>
            </a:xfrm>
            <a:custGeom>
              <a:avLst/>
              <a:gdLst>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37998"/>
                <a:gd name="connsiteY0" fmla="*/ 0 h 3019426"/>
                <a:gd name="connsiteX1" fmla="*/ 4337998 w 4337998"/>
                <a:gd name="connsiteY1" fmla="*/ 1214438 h 3019426"/>
                <a:gd name="connsiteX2" fmla="*/ 3028950 w 4337998"/>
                <a:gd name="connsiteY2" fmla="*/ 3019426 h 3019426"/>
                <a:gd name="connsiteX3" fmla="*/ 0 w 4337998"/>
                <a:gd name="connsiteY3" fmla="*/ 0 h 3019426"/>
                <a:gd name="connsiteX0" fmla="*/ 0 w 4337998"/>
                <a:gd name="connsiteY0" fmla="*/ 0 h 3019426"/>
                <a:gd name="connsiteX1" fmla="*/ 4337998 w 4337998"/>
                <a:gd name="connsiteY1" fmla="*/ 1214438 h 3019426"/>
                <a:gd name="connsiteX2" fmla="*/ 3015303 w 4337998"/>
                <a:gd name="connsiteY2" fmla="*/ 3019426 h 3019426"/>
                <a:gd name="connsiteX3" fmla="*/ 0 w 4337998"/>
                <a:gd name="connsiteY3" fmla="*/ 0 h 3019426"/>
              </a:gdLst>
              <a:ahLst/>
              <a:cxnLst>
                <a:cxn ang="0">
                  <a:pos x="connsiteX0" y="connsiteY0"/>
                </a:cxn>
                <a:cxn ang="0">
                  <a:pos x="connsiteX1" y="connsiteY1"/>
                </a:cxn>
                <a:cxn ang="0">
                  <a:pos x="connsiteX2" y="connsiteY2"/>
                </a:cxn>
                <a:cxn ang="0">
                  <a:pos x="connsiteX3" y="connsiteY3"/>
                </a:cxn>
              </a:cxnLst>
              <a:rect l="l" t="t" r="r" b="b"/>
              <a:pathLst>
                <a:path w="4337998" h="3019426">
                  <a:moveTo>
                    <a:pt x="0" y="0"/>
                  </a:moveTo>
                  <a:lnTo>
                    <a:pt x="4337998" y="1214438"/>
                  </a:lnTo>
                  <a:lnTo>
                    <a:pt x="3015303" y="3019426"/>
                  </a:lnTo>
                  <a:lnTo>
                    <a:pt x="0" y="0"/>
                  </a:lnTo>
                  <a:close/>
                </a:path>
              </a:pathLst>
            </a:custGeom>
            <a:gradFill>
              <a:gsLst>
                <a:gs pos="100000">
                  <a:schemeClr val="accent3"/>
                </a:gs>
                <a:gs pos="44000">
                  <a:schemeClr val="accent2"/>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r>
                <a:rPr lang="en-US" sz="2000" dirty="0">
                  <a:solidFill>
                    <a:srgbClr val="FFFFFF"/>
                  </a:solidFill>
                </a:rPr>
                <a:t>s</a:t>
              </a:r>
            </a:p>
          </p:txBody>
        </p:sp>
        <p:sp>
          <p:nvSpPr>
            <p:cNvPr id="17" name="Freeform 16"/>
            <p:cNvSpPr/>
            <p:nvPr/>
          </p:nvSpPr>
          <p:spPr>
            <a:xfrm>
              <a:off x="7667625" y="1"/>
              <a:ext cx="4533261" cy="1214438"/>
            </a:xfrm>
            <a:custGeom>
              <a:avLst/>
              <a:gdLst>
                <a:gd name="connsiteX0" fmla="*/ 3367088 w 4524375"/>
                <a:gd name="connsiteY0" fmla="*/ 0 h 1223963"/>
                <a:gd name="connsiteX1" fmla="*/ 0 w 4524375"/>
                <a:gd name="connsiteY1" fmla="*/ 1223963 h 1223963"/>
                <a:gd name="connsiteX2" fmla="*/ 4524375 w 4524375"/>
                <a:gd name="connsiteY2" fmla="*/ 1071563 h 1223963"/>
                <a:gd name="connsiteX3" fmla="*/ 3367088 w 4524375"/>
                <a:gd name="connsiteY3" fmla="*/ 0 h 1223963"/>
                <a:gd name="connsiteX0" fmla="*/ 3352800 w 4524375"/>
                <a:gd name="connsiteY0" fmla="*/ 0 h 1233489"/>
                <a:gd name="connsiteX1" fmla="*/ 0 w 4524375"/>
                <a:gd name="connsiteY1" fmla="*/ 1233489 h 1233489"/>
                <a:gd name="connsiteX2" fmla="*/ 4524375 w 4524375"/>
                <a:gd name="connsiteY2" fmla="*/ 1081089 h 1233489"/>
                <a:gd name="connsiteX3" fmla="*/ 3352800 w 4524375"/>
                <a:gd name="connsiteY3" fmla="*/ 0 h 1233489"/>
                <a:gd name="connsiteX0" fmla="*/ 3352800 w 4524375"/>
                <a:gd name="connsiteY0" fmla="*/ 0 h 1228726"/>
                <a:gd name="connsiteX1" fmla="*/ 0 w 4524375"/>
                <a:gd name="connsiteY1" fmla="*/ 1228726 h 1228726"/>
                <a:gd name="connsiteX2" fmla="*/ 4524375 w 4524375"/>
                <a:gd name="connsiteY2" fmla="*/ 1076326 h 1228726"/>
                <a:gd name="connsiteX3" fmla="*/ 3352800 w 4524375"/>
                <a:gd name="connsiteY3" fmla="*/ 0 h 1228726"/>
                <a:gd name="connsiteX0" fmla="*/ 3357563 w 4524375"/>
                <a:gd name="connsiteY0" fmla="*/ 0 h 1223963"/>
                <a:gd name="connsiteX1" fmla="*/ 0 w 4524375"/>
                <a:gd name="connsiteY1" fmla="*/ 1223963 h 1223963"/>
                <a:gd name="connsiteX2" fmla="*/ 4524375 w 4524375"/>
                <a:gd name="connsiteY2" fmla="*/ 1071563 h 1223963"/>
                <a:gd name="connsiteX3" fmla="*/ 3357563 w 4524375"/>
                <a:gd name="connsiteY3" fmla="*/ 0 h 1223963"/>
                <a:gd name="connsiteX0" fmla="*/ 3371851 w 4538663"/>
                <a:gd name="connsiteY0" fmla="*/ 0 h 1219200"/>
                <a:gd name="connsiteX1" fmla="*/ 0 w 4538663"/>
                <a:gd name="connsiteY1" fmla="*/ 1219200 h 1219200"/>
                <a:gd name="connsiteX2" fmla="*/ 4538663 w 4538663"/>
                <a:gd name="connsiteY2" fmla="*/ 1071563 h 1219200"/>
                <a:gd name="connsiteX3" fmla="*/ 3371851 w 4538663"/>
                <a:gd name="connsiteY3" fmla="*/ 0 h 1219200"/>
                <a:gd name="connsiteX0" fmla="*/ 3243264 w 4410076"/>
                <a:gd name="connsiteY0" fmla="*/ 0 h 1071563"/>
                <a:gd name="connsiteX1" fmla="*/ 0 w 4410076"/>
                <a:gd name="connsiteY1" fmla="*/ 1033463 h 1071563"/>
                <a:gd name="connsiteX2" fmla="*/ 4410076 w 4410076"/>
                <a:gd name="connsiteY2" fmla="*/ 1071563 h 1071563"/>
                <a:gd name="connsiteX3" fmla="*/ 3243264 w 4410076"/>
                <a:gd name="connsiteY3" fmla="*/ 0 h 1071563"/>
                <a:gd name="connsiteX0" fmla="*/ 3352801 w 4519613"/>
                <a:gd name="connsiteY0" fmla="*/ 0 h 1214438"/>
                <a:gd name="connsiteX1" fmla="*/ 0 w 4519613"/>
                <a:gd name="connsiteY1" fmla="*/ 1214438 h 1214438"/>
                <a:gd name="connsiteX2" fmla="*/ 4519613 w 4519613"/>
                <a:gd name="connsiteY2" fmla="*/ 1071563 h 1214438"/>
                <a:gd name="connsiteX3" fmla="*/ 3352801 w 4519613"/>
                <a:gd name="connsiteY3" fmla="*/ 0 h 1214438"/>
                <a:gd name="connsiteX0" fmla="*/ 3352801 w 4533261"/>
                <a:gd name="connsiteY0" fmla="*/ 0 h 1214438"/>
                <a:gd name="connsiteX1" fmla="*/ 0 w 4533261"/>
                <a:gd name="connsiteY1" fmla="*/ 1214438 h 1214438"/>
                <a:gd name="connsiteX2" fmla="*/ 4533261 w 4533261"/>
                <a:gd name="connsiteY2" fmla="*/ 1071563 h 1214438"/>
                <a:gd name="connsiteX3" fmla="*/ 3352801 w 4533261"/>
                <a:gd name="connsiteY3" fmla="*/ 0 h 1214438"/>
                <a:gd name="connsiteX0" fmla="*/ 3352801 w 4533261"/>
                <a:gd name="connsiteY0" fmla="*/ 0 h 1214438"/>
                <a:gd name="connsiteX1" fmla="*/ 0 w 4533261"/>
                <a:gd name="connsiteY1" fmla="*/ 1214438 h 1214438"/>
                <a:gd name="connsiteX2" fmla="*/ 4533261 w 4533261"/>
                <a:gd name="connsiteY2" fmla="*/ 1098859 h 1214438"/>
                <a:gd name="connsiteX3" fmla="*/ 3352801 w 4533261"/>
                <a:gd name="connsiteY3" fmla="*/ 0 h 1214438"/>
              </a:gdLst>
              <a:ahLst/>
              <a:cxnLst>
                <a:cxn ang="0">
                  <a:pos x="connsiteX0" y="connsiteY0"/>
                </a:cxn>
                <a:cxn ang="0">
                  <a:pos x="connsiteX1" y="connsiteY1"/>
                </a:cxn>
                <a:cxn ang="0">
                  <a:pos x="connsiteX2" y="connsiteY2"/>
                </a:cxn>
                <a:cxn ang="0">
                  <a:pos x="connsiteX3" y="connsiteY3"/>
                </a:cxn>
              </a:cxnLst>
              <a:rect l="l" t="t" r="r" b="b"/>
              <a:pathLst>
                <a:path w="4533261" h="1214438">
                  <a:moveTo>
                    <a:pt x="3352801" y="0"/>
                  </a:moveTo>
                  <a:lnTo>
                    <a:pt x="0" y="1214438"/>
                  </a:lnTo>
                  <a:lnTo>
                    <a:pt x="4533261" y="1098859"/>
                  </a:lnTo>
                  <a:lnTo>
                    <a:pt x="3352801" y="0"/>
                  </a:lnTo>
                  <a:close/>
                </a:path>
              </a:pathLst>
            </a:custGeom>
            <a:gradFill>
              <a:gsLst>
                <a:gs pos="100000">
                  <a:schemeClr val="accent3"/>
                </a:gs>
                <a:gs pos="44000">
                  <a:schemeClr val="accent2"/>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8" name="Freeform 17"/>
            <p:cNvSpPr/>
            <p:nvPr/>
          </p:nvSpPr>
          <p:spPr>
            <a:xfrm>
              <a:off x="11015664" y="1"/>
              <a:ext cx="1176841" cy="1098080"/>
            </a:xfrm>
            <a:custGeom>
              <a:avLst/>
              <a:gdLst>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6299"/>
                <a:gd name="connsiteY0" fmla="*/ 0 h 1085850"/>
                <a:gd name="connsiteX1" fmla="*/ 1176299 w 1176299"/>
                <a:gd name="connsiteY1" fmla="*/ 1085850 h 1085850"/>
                <a:gd name="connsiteX2" fmla="*/ 1171575 w 1176299"/>
                <a:gd name="connsiteY2" fmla="*/ 0 h 1085850"/>
                <a:gd name="connsiteX3" fmla="*/ 0 w 1176299"/>
                <a:gd name="connsiteY3" fmla="*/ 0 h 1085850"/>
                <a:gd name="connsiteX0" fmla="*/ 0 w 1181344"/>
                <a:gd name="connsiteY0" fmla="*/ 0 h 1085850"/>
                <a:gd name="connsiteX1" fmla="*/ 1176299 w 1181344"/>
                <a:gd name="connsiteY1" fmla="*/ 1085850 h 1085850"/>
                <a:gd name="connsiteX2" fmla="*/ 1181138 w 1181344"/>
                <a:gd name="connsiteY2" fmla="*/ 0 h 1085850"/>
                <a:gd name="connsiteX3" fmla="*/ 0 w 1181344"/>
                <a:gd name="connsiteY3" fmla="*/ 0 h 1085850"/>
                <a:gd name="connsiteX0" fmla="*/ 0 w 1181586"/>
                <a:gd name="connsiteY0" fmla="*/ 0 h 1081088"/>
                <a:gd name="connsiteX1" fmla="*/ 1181080 w 1181586"/>
                <a:gd name="connsiteY1" fmla="*/ 1081088 h 1081088"/>
                <a:gd name="connsiteX2" fmla="*/ 1181138 w 1181586"/>
                <a:gd name="connsiteY2" fmla="*/ 0 h 1081088"/>
                <a:gd name="connsiteX3" fmla="*/ 0 w 1181586"/>
                <a:gd name="connsiteY3" fmla="*/ 0 h 1081088"/>
                <a:gd name="connsiteX0" fmla="*/ 0 w 1181586"/>
                <a:gd name="connsiteY0" fmla="*/ 0 h 1070785"/>
                <a:gd name="connsiteX1" fmla="*/ 1181080 w 1181586"/>
                <a:gd name="connsiteY1" fmla="*/ 1070785 h 1070785"/>
                <a:gd name="connsiteX2" fmla="*/ 1181138 w 1181586"/>
                <a:gd name="connsiteY2" fmla="*/ 0 h 1070785"/>
                <a:gd name="connsiteX3" fmla="*/ 0 w 1181586"/>
                <a:gd name="connsiteY3" fmla="*/ 0 h 1070785"/>
                <a:gd name="connsiteX0" fmla="*/ 0 w 1181152"/>
                <a:gd name="connsiteY0" fmla="*/ 0 h 593113"/>
                <a:gd name="connsiteX1" fmla="*/ 1057755 w 1181152"/>
                <a:gd name="connsiteY1" fmla="*/ 593113 h 593113"/>
                <a:gd name="connsiteX2" fmla="*/ 1181138 w 1181152"/>
                <a:gd name="connsiteY2" fmla="*/ 0 h 593113"/>
                <a:gd name="connsiteX3" fmla="*/ 0 w 1181152"/>
                <a:gd name="connsiteY3" fmla="*/ 0 h 593113"/>
                <a:gd name="connsiteX0" fmla="*/ 0 w 1181586"/>
                <a:gd name="connsiteY0" fmla="*/ 0 h 1098080"/>
                <a:gd name="connsiteX1" fmla="*/ 1181081 w 1181586"/>
                <a:gd name="connsiteY1" fmla="*/ 1098080 h 1098080"/>
                <a:gd name="connsiteX2" fmla="*/ 1181138 w 1181586"/>
                <a:gd name="connsiteY2" fmla="*/ 0 h 1098080"/>
                <a:gd name="connsiteX3" fmla="*/ 0 w 1181586"/>
                <a:gd name="connsiteY3" fmla="*/ 0 h 1098080"/>
              </a:gdLst>
              <a:ahLst/>
              <a:cxnLst>
                <a:cxn ang="0">
                  <a:pos x="connsiteX0" y="connsiteY0"/>
                </a:cxn>
                <a:cxn ang="0">
                  <a:pos x="connsiteX1" y="connsiteY1"/>
                </a:cxn>
                <a:cxn ang="0">
                  <a:pos x="connsiteX2" y="connsiteY2"/>
                </a:cxn>
                <a:cxn ang="0">
                  <a:pos x="connsiteX3" y="connsiteY3"/>
                </a:cxn>
              </a:cxnLst>
              <a:rect l="l" t="t" r="r" b="b"/>
              <a:pathLst>
                <a:path w="1181586" h="1098080">
                  <a:moveTo>
                    <a:pt x="0" y="0"/>
                  </a:moveTo>
                  <a:lnTo>
                    <a:pt x="1181081" y="1098080"/>
                  </a:lnTo>
                  <a:cubicBezTo>
                    <a:pt x="1179506" y="736130"/>
                    <a:pt x="1182713" y="361950"/>
                    <a:pt x="1181138" y="0"/>
                  </a:cubicBezTo>
                  <a:lnTo>
                    <a:pt x="0" y="0"/>
                  </a:lnTo>
                  <a:close/>
                </a:path>
              </a:pathLst>
            </a:custGeom>
            <a:gradFill>
              <a:gsLst>
                <a:gs pos="100000">
                  <a:schemeClr val="accent3"/>
                </a:gs>
                <a:gs pos="44000">
                  <a:schemeClr val="accent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9" name="Freeform 18"/>
            <p:cNvSpPr/>
            <p:nvPr/>
          </p:nvSpPr>
          <p:spPr>
            <a:xfrm>
              <a:off x="10959906" y="1057275"/>
              <a:ext cx="1232552" cy="3276600"/>
            </a:xfrm>
            <a:custGeom>
              <a:avLst/>
              <a:gdLst>
                <a:gd name="connsiteX0" fmla="*/ 1171575 w 1176337"/>
                <a:gd name="connsiteY0" fmla="*/ 0 h 3267075"/>
                <a:gd name="connsiteX1" fmla="*/ 0 w 1176337"/>
                <a:gd name="connsiteY1" fmla="*/ 2762250 h 3267075"/>
                <a:gd name="connsiteX2" fmla="*/ 1176337 w 1176337"/>
                <a:gd name="connsiteY2" fmla="*/ 3267075 h 3267075"/>
                <a:gd name="connsiteX3" fmla="*/ 1171575 w 1176337"/>
                <a:gd name="connsiteY3" fmla="*/ 0 h 3267075"/>
                <a:gd name="connsiteX0" fmla="*/ 1176337 w 1176795"/>
                <a:gd name="connsiteY0" fmla="*/ 0 h 3276600"/>
                <a:gd name="connsiteX1" fmla="*/ 0 w 1176795"/>
                <a:gd name="connsiteY1" fmla="*/ 2771775 h 3276600"/>
                <a:gd name="connsiteX2" fmla="*/ 1176337 w 1176795"/>
                <a:gd name="connsiteY2" fmla="*/ 3276600 h 3276600"/>
                <a:gd name="connsiteX3" fmla="*/ 1176337 w 1176795"/>
                <a:gd name="connsiteY3" fmla="*/ 0 h 3276600"/>
                <a:gd name="connsiteX0" fmla="*/ 1209791 w 1210249"/>
                <a:gd name="connsiteY0" fmla="*/ 0 h 3276600"/>
                <a:gd name="connsiteX1" fmla="*/ 0 w 1210249"/>
                <a:gd name="connsiteY1" fmla="*/ 2771775 h 3276600"/>
                <a:gd name="connsiteX2" fmla="*/ 1209791 w 1210249"/>
                <a:gd name="connsiteY2" fmla="*/ 3276600 h 3276600"/>
                <a:gd name="connsiteX3" fmla="*/ 1209791 w 1210249"/>
                <a:gd name="connsiteY3" fmla="*/ 0 h 3276600"/>
                <a:gd name="connsiteX0" fmla="*/ 1232094 w 1232552"/>
                <a:gd name="connsiteY0" fmla="*/ 0 h 3276600"/>
                <a:gd name="connsiteX1" fmla="*/ 0 w 1232552"/>
                <a:gd name="connsiteY1" fmla="*/ 2749472 h 3276600"/>
                <a:gd name="connsiteX2" fmla="*/ 1232094 w 1232552"/>
                <a:gd name="connsiteY2" fmla="*/ 3276600 h 3276600"/>
                <a:gd name="connsiteX3" fmla="*/ 1232094 w 1232552"/>
                <a:gd name="connsiteY3" fmla="*/ 0 h 3276600"/>
              </a:gdLst>
              <a:ahLst/>
              <a:cxnLst>
                <a:cxn ang="0">
                  <a:pos x="connsiteX0" y="connsiteY0"/>
                </a:cxn>
                <a:cxn ang="0">
                  <a:pos x="connsiteX1" y="connsiteY1"/>
                </a:cxn>
                <a:cxn ang="0">
                  <a:pos x="connsiteX2" y="connsiteY2"/>
                </a:cxn>
                <a:cxn ang="0">
                  <a:pos x="connsiteX3" y="connsiteY3"/>
                </a:cxn>
              </a:cxnLst>
              <a:rect l="l" t="t" r="r" b="b"/>
              <a:pathLst>
                <a:path w="1232552" h="3276600">
                  <a:moveTo>
                    <a:pt x="1232094" y="0"/>
                  </a:moveTo>
                  <a:lnTo>
                    <a:pt x="0" y="2749472"/>
                  </a:lnTo>
                  <a:lnTo>
                    <a:pt x="1232094" y="3276600"/>
                  </a:lnTo>
                  <a:cubicBezTo>
                    <a:pt x="1230507" y="2187575"/>
                    <a:pt x="1233681" y="1089025"/>
                    <a:pt x="1232094" y="0"/>
                  </a:cubicBez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0" name="Freeform 19"/>
            <p:cNvSpPr/>
            <p:nvPr/>
          </p:nvSpPr>
          <p:spPr>
            <a:xfrm>
              <a:off x="6366969" y="2428875"/>
              <a:ext cx="3339005" cy="2271713"/>
            </a:xfrm>
            <a:custGeom>
              <a:avLst/>
              <a:gdLst>
                <a:gd name="connsiteX0" fmla="*/ 0 w 3324225"/>
                <a:gd name="connsiteY0" fmla="*/ 590550 h 2271713"/>
                <a:gd name="connsiteX1" fmla="*/ 1343025 w 3324225"/>
                <a:gd name="connsiteY1" fmla="*/ 2271713 h 2271713"/>
                <a:gd name="connsiteX2" fmla="*/ 3324225 w 3324225"/>
                <a:gd name="connsiteY2" fmla="*/ 0 h 2271713"/>
                <a:gd name="connsiteX3" fmla="*/ 0 w 3324225"/>
                <a:gd name="connsiteY3" fmla="*/ 590550 h 2271713"/>
                <a:gd name="connsiteX0" fmla="*/ 0 w 3333750"/>
                <a:gd name="connsiteY0" fmla="*/ 585787 h 2271713"/>
                <a:gd name="connsiteX1" fmla="*/ 1352550 w 3333750"/>
                <a:gd name="connsiteY1" fmla="*/ 2271713 h 2271713"/>
                <a:gd name="connsiteX2" fmla="*/ 3333750 w 3333750"/>
                <a:gd name="connsiteY2" fmla="*/ 0 h 2271713"/>
                <a:gd name="connsiteX3" fmla="*/ 0 w 3333750"/>
                <a:gd name="connsiteY3" fmla="*/ 585787 h 2271713"/>
                <a:gd name="connsiteX0" fmla="*/ 0 w 3333750"/>
                <a:gd name="connsiteY0" fmla="*/ 591043 h 2271713"/>
                <a:gd name="connsiteX1" fmla="*/ 1352550 w 3333750"/>
                <a:gd name="connsiteY1" fmla="*/ 2271713 h 2271713"/>
                <a:gd name="connsiteX2" fmla="*/ 3333750 w 3333750"/>
                <a:gd name="connsiteY2" fmla="*/ 0 h 2271713"/>
                <a:gd name="connsiteX3" fmla="*/ 0 w 3333750"/>
                <a:gd name="connsiteY3" fmla="*/ 591043 h 2271713"/>
                <a:gd name="connsiteX0" fmla="*/ 0 w 3339005"/>
                <a:gd name="connsiteY0" fmla="*/ 591043 h 2271713"/>
                <a:gd name="connsiteX1" fmla="*/ 1357805 w 3339005"/>
                <a:gd name="connsiteY1" fmla="*/ 2271713 h 2271713"/>
                <a:gd name="connsiteX2" fmla="*/ 3339005 w 3339005"/>
                <a:gd name="connsiteY2" fmla="*/ 0 h 2271713"/>
                <a:gd name="connsiteX3" fmla="*/ 0 w 3339005"/>
                <a:gd name="connsiteY3" fmla="*/ 591043 h 2271713"/>
              </a:gdLst>
              <a:ahLst/>
              <a:cxnLst>
                <a:cxn ang="0">
                  <a:pos x="connsiteX0" y="connsiteY0"/>
                </a:cxn>
                <a:cxn ang="0">
                  <a:pos x="connsiteX1" y="connsiteY1"/>
                </a:cxn>
                <a:cxn ang="0">
                  <a:pos x="connsiteX2" y="connsiteY2"/>
                </a:cxn>
                <a:cxn ang="0">
                  <a:pos x="connsiteX3" y="connsiteY3"/>
                </a:cxn>
              </a:cxnLst>
              <a:rect l="l" t="t" r="r" b="b"/>
              <a:pathLst>
                <a:path w="3339005" h="2271713">
                  <a:moveTo>
                    <a:pt x="0" y="591043"/>
                  </a:moveTo>
                  <a:lnTo>
                    <a:pt x="1357805" y="2271713"/>
                  </a:lnTo>
                  <a:lnTo>
                    <a:pt x="3339005" y="0"/>
                  </a:lnTo>
                  <a:lnTo>
                    <a:pt x="0" y="591043"/>
                  </a:lnTo>
                  <a:close/>
                </a:path>
              </a:pathLst>
            </a:custGeom>
            <a:gradFill>
              <a:gsLst>
                <a:gs pos="100000">
                  <a:schemeClr val="accent3"/>
                </a:gs>
                <a:gs pos="44000">
                  <a:schemeClr val="accent2"/>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1" name="Freeform 20"/>
            <p:cNvSpPr/>
            <p:nvPr/>
          </p:nvSpPr>
          <p:spPr>
            <a:xfrm>
              <a:off x="1025774" y="1761707"/>
              <a:ext cx="2098477" cy="1910094"/>
            </a:xfrm>
            <a:custGeom>
              <a:avLst/>
              <a:gdLst>
                <a:gd name="connsiteX0" fmla="*/ 2086304 w 2086304"/>
                <a:gd name="connsiteY0" fmla="*/ 0 h 1886607"/>
                <a:gd name="connsiteX1" fmla="*/ 0 w 2086304"/>
                <a:gd name="connsiteY1" fmla="*/ 15765 h 1886607"/>
                <a:gd name="connsiteX2" fmla="*/ 362607 w 2086304"/>
                <a:gd name="connsiteY2" fmla="*/ 1886607 h 1886607"/>
                <a:gd name="connsiteX3" fmla="*/ 2086304 w 2086304"/>
                <a:gd name="connsiteY3" fmla="*/ 0 h 1886607"/>
                <a:gd name="connsiteX0" fmla="*/ 2101053 w 2101053"/>
                <a:gd name="connsiteY0" fmla="*/ 0 h 1886607"/>
                <a:gd name="connsiteX1" fmla="*/ 0 w 2101053"/>
                <a:gd name="connsiteY1" fmla="*/ 1207 h 1886607"/>
                <a:gd name="connsiteX2" fmla="*/ 377356 w 2101053"/>
                <a:gd name="connsiteY2" fmla="*/ 1886607 h 1886607"/>
                <a:gd name="connsiteX3" fmla="*/ 2101053 w 2101053"/>
                <a:gd name="connsiteY3" fmla="*/ 0 h 1886607"/>
                <a:gd name="connsiteX0" fmla="*/ 2098477 w 2098477"/>
                <a:gd name="connsiteY0" fmla="*/ 8963 h 1885400"/>
                <a:gd name="connsiteX1" fmla="*/ 0 w 2098477"/>
                <a:gd name="connsiteY1" fmla="*/ 0 h 1885400"/>
                <a:gd name="connsiteX2" fmla="*/ 377356 w 2098477"/>
                <a:gd name="connsiteY2" fmla="*/ 1885400 h 1885400"/>
                <a:gd name="connsiteX3" fmla="*/ 2098477 w 2098477"/>
                <a:gd name="connsiteY3" fmla="*/ 8963 h 1885400"/>
              </a:gdLst>
              <a:ahLst/>
              <a:cxnLst>
                <a:cxn ang="0">
                  <a:pos x="connsiteX0" y="connsiteY0"/>
                </a:cxn>
                <a:cxn ang="0">
                  <a:pos x="connsiteX1" y="connsiteY1"/>
                </a:cxn>
                <a:cxn ang="0">
                  <a:pos x="connsiteX2" y="connsiteY2"/>
                </a:cxn>
                <a:cxn ang="0">
                  <a:pos x="connsiteX3" y="connsiteY3"/>
                </a:cxn>
              </a:cxnLst>
              <a:rect l="l" t="t" r="r" b="b"/>
              <a:pathLst>
                <a:path w="2098477" h="1885400">
                  <a:moveTo>
                    <a:pt x="2098477" y="8963"/>
                  </a:moveTo>
                  <a:lnTo>
                    <a:pt x="0" y="0"/>
                  </a:lnTo>
                  <a:lnTo>
                    <a:pt x="377356" y="1885400"/>
                  </a:lnTo>
                  <a:lnTo>
                    <a:pt x="2098477" y="8963"/>
                  </a:lnTo>
                  <a:close/>
                </a:path>
              </a:pathLst>
            </a:custGeom>
            <a:gradFill>
              <a:gsLst>
                <a:gs pos="100000">
                  <a:schemeClr val="accent3"/>
                </a:gs>
                <a:gs pos="44000">
                  <a:schemeClr val="accent2"/>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2" name="Freeform 21"/>
            <p:cNvSpPr/>
            <p:nvPr/>
          </p:nvSpPr>
          <p:spPr>
            <a:xfrm>
              <a:off x="3532" y="4857972"/>
              <a:ext cx="4090198" cy="2007612"/>
            </a:xfrm>
            <a:custGeom>
              <a:avLst/>
              <a:gdLst>
                <a:gd name="connsiteX0" fmla="*/ 3576398 w 4077729"/>
                <a:gd name="connsiteY0" fmla="*/ 0 h 1994733"/>
                <a:gd name="connsiteX1" fmla="*/ 4077729 w 4077729"/>
                <a:gd name="connsiteY1" fmla="*/ 1101516 h 1994733"/>
                <a:gd name="connsiteX2" fmla="*/ 0 w 4077729"/>
                <a:gd name="connsiteY2" fmla="*/ 1994733 h 1994733"/>
                <a:gd name="connsiteX3" fmla="*/ 3576398 w 4077729"/>
                <a:gd name="connsiteY3" fmla="*/ 0 h 1994733"/>
                <a:gd name="connsiteX0" fmla="*/ 3576398 w 4086042"/>
                <a:gd name="connsiteY0" fmla="*/ 0 h 1994733"/>
                <a:gd name="connsiteX1" fmla="*/ 4086042 w 4086042"/>
                <a:gd name="connsiteY1" fmla="*/ 1093204 h 1994733"/>
                <a:gd name="connsiteX2" fmla="*/ 0 w 4086042"/>
                <a:gd name="connsiteY2" fmla="*/ 1994733 h 1994733"/>
                <a:gd name="connsiteX3" fmla="*/ 3576398 w 4086042"/>
                <a:gd name="connsiteY3" fmla="*/ 0 h 1994733"/>
                <a:gd name="connsiteX0" fmla="*/ 3576398 w 4090198"/>
                <a:gd name="connsiteY0" fmla="*/ 0 h 1994733"/>
                <a:gd name="connsiteX1" fmla="*/ 4090198 w 4090198"/>
                <a:gd name="connsiteY1" fmla="*/ 1084892 h 1994733"/>
                <a:gd name="connsiteX2" fmla="*/ 0 w 4090198"/>
                <a:gd name="connsiteY2" fmla="*/ 1994733 h 1994733"/>
                <a:gd name="connsiteX3" fmla="*/ 3576398 w 4090198"/>
                <a:gd name="connsiteY3" fmla="*/ 0 h 1994733"/>
                <a:gd name="connsiteX0" fmla="*/ 3576398 w 4090198"/>
                <a:gd name="connsiteY0" fmla="*/ 0 h 2007612"/>
                <a:gd name="connsiteX1" fmla="*/ 4090198 w 4090198"/>
                <a:gd name="connsiteY1" fmla="*/ 1084892 h 2007612"/>
                <a:gd name="connsiteX2" fmla="*/ 0 w 4090198"/>
                <a:gd name="connsiteY2" fmla="*/ 2007612 h 2007612"/>
                <a:gd name="connsiteX3" fmla="*/ 3576398 w 4090198"/>
                <a:gd name="connsiteY3" fmla="*/ 0 h 2007612"/>
              </a:gdLst>
              <a:ahLst/>
              <a:cxnLst>
                <a:cxn ang="0">
                  <a:pos x="connsiteX0" y="connsiteY0"/>
                </a:cxn>
                <a:cxn ang="0">
                  <a:pos x="connsiteX1" y="connsiteY1"/>
                </a:cxn>
                <a:cxn ang="0">
                  <a:pos x="connsiteX2" y="connsiteY2"/>
                </a:cxn>
                <a:cxn ang="0">
                  <a:pos x="connsiteX3" y="connsiteY3"/>
                </a:cxn>
              </a:cxnLst>
              <a:rect l="l" t="t" r="r" b="b"/>
              <a:pathLst>
                <a:path w="4090198" h="2007612">
                  <a:moveTo>
                    <a:pt x="3576398" y="0"/>
                  </a:moveTo>
                  <a:lnTo>
                    <a:pt x="4090198" y="1084892"/>
                  </a:lnTo>
                  <a:lnTo>
                    <a:pt x="0" y="2007612"/>
                  </a:lnTo>
                  <a:lnTo>
                    <a:pt x="3576398"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3" name="Freeform 22"/>
            <p:cNvSpPr/>
            <p:nvPr/>
          </p:nvSpPr>
          <p:spPr>
            <a:xfrm>
              <a:off x="-6301" y="5938309"/>
              <a:ext cx="4092304" cy="924304"/>
            </a:xfrm>
            <a:custGeom>
              <a:avLst/>
              <a:gdLst>
                <a:gd name="connsiteX0" fmla="*/ 4074199 w 4074199"/>
                <a:gd name="connsiteY0" fmla="*/ 0 h 907339"/>
                <a:gd name="connsiteX1" fmla="*/ 3357507 w 4074199"/>
                <a:gd name="connsiteY1" fmla="*/ 907339 h 907339"/>
                <a:gd name="connsiteX2" fmla="*/ 0 w 4074199"/>
                <a:gd name="connsiteY2" fmla="*/ 907339 h 907339"/>
                <a:gd name="connsiteX3" fmla="*/ 4074199 w 4074199"/>
                <a:gd name="connsiteY3" fmla="*/ 0 h 907339"/>
                <a:gd name="connsiteX0" fmla="*/ 4084791 w 4084791"/>
                <a:gd name="connsiteY0" fmla="*/ 0 h 907339"/>
                <a:gd name="connsiteX1" fmla="*/ 3368099 w 4084791"/>
                <a:gd name="connsiteY1" fmla="*/ 907339 h 907339"/>
                <a:gd name="connsiteX2" fmla="*/ 0 w 4084791"/>
                <a:gd name="connsiteY2" fmla="*/ 907339 h 907339"/>
                <a:gd name="connsiteX3" fmla="*/ 4084791 w 4084791"/>
                <a:gd name="connsiteY3" fmla="*/ 0 h 907339"/>
                <a:gd name="connsiteX0" fmla="*/ 4100031 w 4100031"/>
                <a:gd name="connsiteY0" fmla="*/ 0 h 907339"/>
                <a:gd name="connsiteX1" fmla="*/ 3368099 w 4100031"/>
                <a:gd name="connsiteY1" fmla="*/ 907339 h 907339"/>
                <a:gd name="connsiteX2" fmla="*/ 0 w 4100031"/>
                <a:gd name="connsiteY2" fmla="*/ 907339 h 907339"/>
                <a:gd name="connsiteX3" fmla="*/ 4100031 w 4100031"/>
                <a:gd name="connsiteY3" fmla="*/ 0 h 907339"/>
                <a:gd name="connsiteX0" fmla="*/ 4102607 w 4102607"/>
                <a:gd name="connsiteY0" fmla="*/ 0 h 907339"/>
                <a:gd name="connsiteX1" fmla="*/ 3370675 w 4102607"/>
                <a:gd name="connsiteY1" fmla="*/ 907339 h 907339"/>
                <a:gd name="connsiteX2" fmla="*/ 0 w 4102607"/>
                <a:gd name="connsiteY2" fmla="*/ 857464 h 907339"/>
                <a:gd name="connsiteX3" fmla="*/ 4102607 w 4102607"/>
                <a:gd name="connsiteY3" fmla="*/ 0 h 907339"/>
                <a:gd name="connsiteX0" fmla="*/ 4097455 w 4097455"/>
                <a:gd name="connsiteY0" fmla="*/ 0 h 907339"/>
                <a:gd name="connsiteX1" fmla="*/ 3365523 w 4097455"/>
                <a:gd name="connsiteY1" fmla="*/ 907339 h 907339"/>
                <a:gd name="connsiteX2" fmla="*/ 0 w 4097455"/>
                <a:gd name="connsiteY2" fmla="*/ 859958 h 907339"/>
                <a:gd name="connsiteX3" fmla="*/ 4097455 w 4097455"/>
                <a:gd name="connsiteY3" fmla="*/ 0 h 907339"/>
                <a:gd name="connsiteX0" fmla="*/ 4097455 w 4097455"/>
                <a:gd name="connsiteY0" fmla="*/ 0 h 862451"/>
                <a:gd name="connsiteX1" fmla="*/ 3411887 w 4097455"/>
                <a:gd name="connsiteY1" fmla="*/ 862451 h 862451"/>
                <a:gd name="connsiteX2" fmla="*/ 0 w 4097455"/>
                <a:gd name="connsiteY2" fmla="*/ 859958 h 862451"/>
                <a:gd name="connsiteX3" fmla="*/ 4097455 w 4097455"/>
                <a:gd name="connsiteY3" fmla="*/ 0 h 862451"/>
                <a:gd name="connsiteX0" fmla="*/ 4089728 w 4089728"/>
                <a:gd name="connsiteY0" fmla="*/ 0 h 892377"/>
                <a:gd name="connsiteX1" fmla="*/ 3411887 w 4089728"/>
                <a:gd name="connsiteY1" fmla="*/ 892377 h 892377"/>
                <a:gd name="connsiteX2" fmla="*/ 0 w 4089728"/>
                <a:gd name="connsiteY2" fmla="*/ 889884 h 892377"/>
                <a:gd name="connsiteX3" fmla="*/ 4089728 w 4089728"/>
                <a:gd name="connsiteY3" fmla="*/ 0 h 892377"/>
                <a:gd name="connsiteX0" fmla="*/ 4089728 w 4089728"/>
                <a:gd name="connsiteY0" fmla="*/ 0 h 892377"/>
                <a:gd name="connsiteX1" fmla="*/ 3424766 w 4089728"/>
                <a:gd name="connsiteY1" fmla="*/ 892377 h 892377"/>
                <a:gd name="connsiteX2" fmla="*/ 0 w 4089728"/>
                <a:gd name="connsiteY2" fmla="*/ 889884 h 892377"/>
                <a:gd name="connsiteX3" fmla="*/ 4089728 w 4089728"/>
                <a:gd name="connsiteY3" fmla="*/ 0 h 892377"/>
                <a:gd name="connsiteX0" fmla="*/ 4089728 w 4089728"/>
                <a:gd name="connsiteY0" fmla="*/ 0 h 889884"/>
                <a:gd name="connsiteX1" fmla="*/ 3360372 w 4089728"/>
                <a:gd name="connsiteY1" fmla="*/ 889884 h 889884"/>
                <a:gd name="connsiteX2" fmla="*/ 0 w 4089728"/>
                <a:gd name="connsiteY2" fmla="*/ 889884 h 889884"/>
                <a:gd name="connsiteX3" fmla="*/ 4089728 w 4089728"/>
                <a:gd name="connsiteY3" fmla="*/ 0 h 889884"/>
                <a:gd name="connsiteX0" fmla="*/ 4079425 w 4079425"/>
                <a:gd name="connsiteY0" fmla="*/ 0 h 889884"/>
                <a:gd name="connsiteX1" fmla="*/ 3350069 w 4079425"/>
                <a:gd name="connsiteY1" fmla="*/ 889884 h 889884"/>
                <a:gd name="connsiteX2" fmla="*/ 0 w 4079425"/>
                <a:gd name="connsiteY2" fmla="*/ 882403 h 889884"/>
                <a:gd name="connsiteX3" fmla="*/ 4079425 w 4079425"/>
                <a:gd name="connsiteY3" fmla="*/ 0 h 889884"/>
                <a:gd name="connsiteX0" fmla="*/ 4082000 w 4082000"/>
                <a:gd name="connsiteY0" fmla="*/ 0 h 889884"/>
                <a:gd name="connsiteX1" fmla="*/ 3352644 w 4082000"/>
                <a:gd name="connsiteY1" fmla="*/ 889884 h 889884"/>
                <a:gd name="connsiteX2" fmla="*/ 0 w 4082000"/>
                <a:gd name="connsiteY2" fmla="*/ 882403 h 889884"/>
                <a:gd name="connsiteX3" fmla="*/ 4082000 w 4082000"/>
                <a:gd name="connsiteY3" fmla="*/ 0 h 889884"/>
                <a:gd name="connsiteX0" fmla="*/ 4087152 w 4087152"/>
                <a:gd name="connsiteY0" fmla="*/ 0 h 1007091"/>
                <a:gd name="connsiteX1" fmla="*/ 3357796 w 4087152"/>
                <a:gd name="connsiteY1" fmla="*/ 889884 h 1007091"/>
                <a:gd name="connsiteX2" fmla="*/ 0 w 4087152"/>
                <a:gd name="connsiteY2" fmla="*/ 1007091 h 1007091"/>
                <a:gd name="connsiteX3" fmla="*/ 4087152 w 4087152"/>
                <a:gd name="connsiteY3" fmla="*/ 0 h 1007091"/>
                <a:gd name="connsiteX0" fmla="*/ 4092304 w 4092304"/>
                <a:gd name="connsiteY0" fmla="*/ 0 h 894872"/>
                <a:gd name="connsiteX1" fmla="*/ 3362948 w 4092304"/>
                <a:gd name="connsiteY1" fmla="*/ 889884 h 894872"/>
                <a:gd name="connsiteX2" fmla="*/ 0 w 4092304"/>
                <a:gd name="connsiteY2" fmla="*/ 894872 h 894872"/>
                <a:gd name="connsiteX3" fmla="*/ 4092304 w 4092304"/>
                <a:gd name="connsiteY3" fmla="*/ 0 h 894872"/>
              </a:gdLst>
              <a:ahLst/>
              <a:cxnLst>
                <a:cxn ang="0">
                  <a:pos x="connsiteX0" y="connsiteY0"/>
                </a:cxn>
                <a:cxn ang="0">
                  <a:pos x="connsiteX1" y="connsiteY1"/>
                </a:cxn>
                <a:cxn ang="0">
                  <a:pos x="connsiteX2" y="connsiteY2"/>
                </a:cxn>
                <a:cxn ang="0">
                  <a:pos x="connsiteX3" y="connsiteY3"/>
                </a:cxn>
              </a:cxnLst>
              <a:rect l="l" t="t" r="r" b="b"/>
              <a:pathLst>
                <a:path w="4092304" h="894872">
                  <a:moveTo>
                    <a:pt x="4092304" y="0"/>
                  </a:moveTo>
                  <a:lnTo>
                    <a:pt x="3362948" y="889884"/>
                  </a:lnTo>
                  <a:lnTo>
                    <a:pt x="0" y="894872"/>
                  </a:lnTo>
                  <a:lnTo>
                    <a:pt x="4092304"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Freeform 24"/>
            <p:cNvSpPr/>
            <p:nvPr/>
          </p:nvSpPr>
          <p:spPr>
            <a:xfrm>
              <a:off x="3317876" y="5936217"/>
              <a:ext cx="5416584" cy="930949"/>
            </a:xfrm>
            <a:custGeom>
              <a:avLst/>
              <a:gdLst>
                <a:gd name="connsiteX0" fmla="*/ 683287 w 5365819"/>
                <a:gd name="connsiteY0" fmla="*/ 0 h 914400"/>
                <a:gd name="connsiteX1" fmla="*/ 5365819 w 5365819"/>
                <a:gd name="connsiteY1" fmla="*/ 904351 h 914400"/>
                <a:gd name="connsiteX2" fmla="*/ 0 w 5365819"/>
                <a:gd name="connsiteY2" fmla="*/ 914400 h 914400"/>
                <a:gd name="connsiteX3" fmla="*/ 683287 w 5365819"/>
                <a:gd name="connsiteY3" fmla="*/ 0 h 914400"/>
                <a:gd name="connsiteX0" fmla="*/ 711531 w 5394063"/>
                <a:gd name="connsiteY0" fmla="*/ 0 h 917930"/>
                <a:gd name="connsiteX1" fmla="*/ 5394063 w 5394063"/>
                <a:gd name="connsiteY1" fmla="*/ 904351 h 917930"/>
                <a:gd name="connsiteX2" fmla="*/ 0 w 5394063"/>
                <a:gd name="connsiteY2" fmla="*/ 917930 h 917930"/>
                <a:gd name="connsiteX3" fmla="*/ 711531 w 5394063"/>
                <a:gd name="connsiteY3" fmla="*/ 0 h 917930"/>
                <a:gd name="connsiteX0" fmla="*/ 725653 w 5394063"/>
                <a:gd name="connsiteY0" fmla="*/ 0 h 910869"/>
                <a:gd name="connsiteX1" fmla="*/ 5394063 w 5394063"/>
                <a:gd name="connsiteY1" fmla="*/ 897290 h 910869"/>
                <a:gd name="connsiteX2" fmla="*/ 0 w 5394063"/>
                <a:gd name="connsiteY2" fmla="*/ 910869 h 910869"/>
                <a:gd name="connsiteX3" fmla="*/ 725653 w 5394063"/>
                <a:gd name="connsiteY3" fmla="*/ 0 h 910869"/>
                <a:gd name="connsiteX0" fmla="*/ 725653 w 5376410"/>
                <a:gd name="connsiteY0" fmla="*/ 0 h 910869"/>
                <a:gd name="connsiteX1" fmla="*/ 5376410 w 5376410"/>
                <a:gd name="connsiteY1" fmla="*/ 907881 h 910869"/>
                <a:gd name="connsiteX2" fmla="*/ 0 w 5376410"/>
                <a:gd name="connsiteY2" fmla="*/ 910869 h 910869"/>
                <a:gd name="connsiteX3" fmla="*/ 725653 w 5376410"/>
                <a:gd name="connsiteY3" fmla="*/ 0 h 910869"/>
                <a:gd name="connsiteX0" fmla="*/ 783842 w 5376410"/>
                <a:gd name="connsiteY0" fmla="*/ 0 h 765396"/>
                <a:gd name="connsiteX1" fmla="*/ 5376410 w 5376410"/>
                <a:gd name="connsiteY1" fmla="*/ 762408 h 765396"/>
                <a:gd name="connsiteX2" fmla="*/ 0 w 5376410"/>
                <a:gd name="connsiteY2" fmla="*/ 765396 h 765396"/>
                <a:gd name="connsiteX3" fmla="*/ 783842 w 5376410"/>
                <a:gd name="connsiteY3" fmla="*/ 0 h 765396"/>
                <a:gd name="connsiteX0" fmla="*/ 729810 w 5376410"/>
                <a:gd name="connsiteY0" fmla="*/ 0 h 910869"/>
                <a:gd name="connsiteX1" fmla="*/ 5376410 w 5376410"/>
                <a:gd name="connsiteY1" fmla="*/ 907881 h 910869"/>
                <a:gd name="connsiteX2" fmla="*/ 0 w 5376410"/>
                <a:gd name="connsiteY2" fmla="*/ 910869 h 910869"/>
                <a:gd name="connsiteX3" fmla="*/ 729810 w 5376410"/>
                <a:gd name="connsiteY3" fmla="*/ 0 h 910869"/>
                <a:gd name="connsiteX0" fmla="*/ 714570 w 5376410"/>
                <a:gd name="connsiteY0" fmla="*/ 0 h 918489"/>
                <a:gd name="connsiteX1" fmla="*/ 5376410 w 5376410"/>
                <a:gd name="connsiteY1" fmla="*/ 915501 h 918489"/>
                <a:gd name="connsiteX2" fmla="*/ 0 w 5376410"/>
                <a:gd name="connsiteY2" fmla="*/ 918489 h 918489"/>
                <a:gd name="connsiteX3" fmla="*/ 714570 w 5376410"/>
                <a:gd name="connsiteY3" fmla="*/ 0 h 918489"/>
                <a:gd name="connsiteX0" fmla="*/ 809820 w 5376410"/>
                <a:gd name="connsiteY0" fmla="*/ 0 h 758469"/>
                <a:gd name="connsiteX1" fmla="*/ 5376410 w 5376410"/>
                <a:gd name="connsiteY1" fmla="*/ 755481 h 758469"/>
                <a:gd name="connsiteX2" fmla="*/ 0 w 5376410"/>
                <a:gd name="connsiteY2" fmla="*/ 758469 h 758469"/>
                <a:gd name="connsiteX3" fmla="*/ 809820 w 5376410"/>
                <a:gd name="connsiteY3" fmla="*/ 0 h 758469"/>
                <a:gd name="connsiteX0" fmla="*/ 710760 w 5376410"/>
                <a:gd name="connsiteY0" fmla="*/ 0 h 918489"/>
                <a:gd name="connsiteX1" fmla="*/ 5376410 w 5376410"/>
                <a:gd name="connsiteY1" fmla="*/ 915501 h 918489"/>
                <a:gd name="connsiteX2" fmla="*/ 0 w 5376410"/>
                <a:gd name="connsiteY2" fmla="*/ 918489 h 918489"/>
                <a:gd name="connsiteX3" fmla="*/ 710760 w 5376410"/>
                <a:gd name="connsiteY3" fmla="*/ 0 h 918489"/>
                <a:gd name="connsiteX0" fmla="*/ 722190 w 5376410"/>
                <a:gd name="connsiteY0" fmla="*/ 0 h 914679"/>
                <a:gd name="connsiteX1" fmla="*/ 5376410 w 5376410"/>
                <a:gd name="connsiteY1" fmla="*/ 911691 h 914679"/>
                <a:gd name="connsiteX2" fmla="*/ 0 w 5376410"/>
                <a:gd name="connsiteY2" fmla="*/ 914679 h 914679"/>
                <a:gd name="connsiteX3" fmla="*/ 722190 w 5376410"/>
                <a:gd name="connsiteY3" fmla="*/ 0 h 914679"/>
                <a:gd name="connsiteX0" fmla="*/ 735069 w 5389289"/>
                <a:gd name="connsiteY0" fmla="*/ 0 h 912104"/>
                <a:gd name="connsiteX1" fmla="*/ 5389289 w 5389289"/>
                <a:gd name="connsiteY1" fmla="*/ 911691 h 912104"/>
                <a:gd name="connsiteX2" fmla="*/ 0 w 5389289"/>
                <a:gd name="connsiteY2" fmla="*/ 912104 h 912104"/>
                <a:gd name="connsiteX3" fmla="*/ 735069 w 5389289"/>
                <a:gd name="connsiteY3" fmla="*/ 0 h 912104"/>
                <a:gd name="connsiteX0" fmla="*/ 735069 w 5389289"/>
                <a:gd name="connsiteY0" fmla="*/ 0 h 925339"/>
                <a:gd name="connsiteX1" fmla="*/ 5389289 w 5389289"/>
                <a:gd name="connsiteY1" fmla="*/ 925339 h 925339"/>
                <a:gd name="connsiteX2" fmla="*/ 0 w 5389289"/>
                <a:gd name="connsiteY2" fmla="*/ 912104 h 925339"/>
                <a:gd name="connsiteX3" fmla="*/ 735069 w 5389289"/>
                <a:gd name="connsiteY3" fmla="*/ 0 h 925339"/>
                <a:gd name="connsiteX0" fmla="*/ 762364 w 5416584"/>
                <a:gd name="connsiteY0" fmla="*/ 0 h 939400"/>
                <a:gd name="connsiteX1" fmla="*/ 5416584 w 5416584"/>
                <a:gd name="connsiteY1" fmla="*/ 925339 h 939400"/>
                <a:gd name="connsiteX2" fmla="*/ 0 w 5416584"/>
                <a:gd name="connsiteY2" fmla="*/ 939400 h 939400"/>
                <a:gd name="connsiteX3" fmla="*/ 762364 w 5416584"/>
                <a:gd name="connsiteY3" fmla="*/ 0 h 939400"/>
                <a:gd name="connsiteX0" fmla="*/ 762364 w 5416584"/>
                <a:gd name="connsiteY0" fmla="*/ 0 h 945010"/>
                <a:gd name="connsiteX1" fmla="*/ 5416584 w 5416584"/>
                <a:gd name="connsiteY1" fmla="*/ 930949 h 945010"/>
                <a:gd name="connsiteX2" fmla="*/ 0 w 5416584"/>
                <a:gd name="connsiteY2" fmla="*/ 945010 h 945010"/>
                <a:gd name="connsiteX3" fmla="*/ 762364 w 5416584"/>
                <a:gd name="connsiteY3" fmla="*/ 0 h 945010"/>
                <a:gd name="connsiteX0" fmla="*/ 762364 w 5416584"/>
                <a:gd name="connsiteY0" fmla="*/ 0 h 930949"/>
                <a:gd name="connsiteX1" fmla="*/ 5416584 w 5416584"/>
                <a:gd name="connsiteY1" fmla="*/ 930949 h 930949"/>
                <a:gd name="connsiteX2" fmla="*/ 0 w 5416584"/>
                <a:gd name="connsiteY2" fmla="*/ 921156 h 930949"/>
                <a:gd name="connsiteX3" fmla="*/ 762364 w 5416584"/>
                <a:gd name="connsiteY3" fmla="*/ 0 h 930949"/>
              </a:gdLst>
              <a:ahLst/>
              <a:cxnLst>
                <a:cxn ang="0">
                  <a:pos x="connsiteX0" y="connsiteY0"/>
                </a:cxn>
                <a:cxn ang="0">
                  <a:pos x="connsiteX1" y="connsiteY1"/>
                </a:cxn>
                <a:cxn ang="0">
                  <a:pos x="connsiteX2" y="connsiteY2"/>
                </a:cxn>
                <a:cxn ang="0">
                  <a:pos x="connsiteX3" y="connsiteY3"/>
                </a:cxn>
              </a:cxnLst>
              <a:rect l="l" t="t" r="r" b="b"/>
              <a:pathLst>
                <a:path w="5416584" h="930949">
                  <a:moveTo>
                    <a:pt x="762364" y="0"/>
                  </a:moveTo>
                  <a:lnTo>
                    <a:pt x="5416584" y="930949"/>
                  </a:lnTo>
                  <a:lnTo>
                    <a:pt x="0" y="921156"/>
                  </a:lnTo>
                  <a:lnTo>
                    <a:pt x="762364" y="0"/>
                  </a:ln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6" name="Freeform 25"/>
            <p:cNvSpPr/>
            <p:nvPr/>
          </p:nvSpPr>
          <p:spPr>
            <a:xfrm>
              <a:off x="10990536" y="3785435"/>
              <a:ext cx="1209457" cy="3091509"/>
            </a:xfrm>
            <a:custGeom>
              <a:avLst/>
              <a:gdLst>
                <a:gd name="connsiteX0" fmla="*/ 0 w 1182718"/>
                <a:gd name="connsiteY0" fmla="*/ 0 h 3032701"/>
                <a:gd name="connsiteX1" fmla="*/ 497800 w 1182718"/>
                <a:gd name="connsiteY1" fmla="*/ 3032701 h 3032701"/>
                <a:gd name="connsiteX2" fmla="*/ 1182718 w 1182718"/>
                <a:gd name="connsiteY2" fmla="*/ 515453 h 3032701"/>
                <a:gd name="connsiteX3" fmla="*/ 0 w 1182718"/>
                <a:gd name="connsiteY3" fmla="*/ 0 h 3032701"/>
                <a:gd name="connsiteX0" fmla="*/ 0 w 1179187"/>
                <a:gd name="connsiteY0" fmla="*/ 0 h 3029170"/>
                <a:gd name="connsiteX1" fmla="*/ 494269 w 1179187"/>
                <a:gd name="connsiteY1" fmla="*/ 3029170 h 3029170"/>
                <a:gd name="connsiteX2" fmla="*/ 1179187 w 1179187"/>
                <a:gd name="connsiteY2" fmla="*/ 511922 h 3029170"/>
                <a:gd name="connsiteX3" fmla="*/ 0 w 1179187"/>
                <a:gd name="connsiteY3" fmla="*/ 0 h 3029170"/>
                <a:gd name="connsiteX0" fmla="*/ 0 w 1179187"/>
                <a:gd name="connsiteY0" fmla="*/ 0 h 3039761"/>
                <a:gd name="connsiteX1" fmla="*/ 483677 w 1179187"/>
                <a:gd name="connsiteY1" fmla="*/ 3039761 h 3039761"/>
                <a:gd name="connsiteX2" fmla="*/ 1179187 w 1179187"/>
                <a:gd name="connsiteY2" fmla="*/ 511922 h 3039761"/>
                <a:gd name="connsiteX3" fmla="*/ 0 w 1179187"/>
                <a:gd name="connsiteY3" fmla="*/ 0 h 3039761"/>
                <a:gd name="connsiteX0" fmla="*/ 0 w 1190407"/>
                <a:gd name="connsiteY0" fmla="*/ 0 h 3039761"/>
                <a:gd name="connsiteX1" fmla="*/ 494897 w 1190407"/>
                <a:gd name="connsiteY1" fmla="*/ 3039761 h 3039761"/>
                <a:gd name="connsiteX2" fmla="*/ 1190407 w 1190407"/>
                <a:gd name="connsiteY2" fmla="*/ 511922 h 3039761"/>
                <a:gd name="connsiteX3" fmla="*/ 0 w 1190407"/>
                <a:gd name="connsiteY3" fmla="*/ 0 h 3039761"/>
                <a:gd name="connsiteX0" fmla="*/ 0 w 1203107"/>
                <a:gd name="connsiteY0" fmla="*/ 0 h 3065161"/>
                <a:gd name="connsiteX1" fmla="*/ 507597 w 1203107"/>
                <a:gd name="connsiteY1" fmla="*/ 3065161 h 3065161"/>
                <a:gd name="connsiteX2" fmla="*/ 1203107 w 1203107"/>
                <a:gd name="connsiteY2" fmla="*/ 537322 h 3065161"/>
                <a:gd name="connsiteX3" fmla="*/ 0 w 1203107"/>
                <a:gd name="connsiteY3" fmla="*/ 0 h 3065161"/>
                <a:gd name="connsiteX0" fmla="*/ 0 w 1209457"/>
                <a:gd name="connsiteY0" fmla="*/ 0 h 3065161"/>
                <a:gd name="connsiteX1" fmla="*/ 507597 w 1209457"/>
                <a:gd name="connsiteY1" fmla="*/ 3065161 h 3065161"/>
                <a:gd name="connsiteX2" fmla="*/ 1209457 w 1209457"/>
                <a:gd name="connsiteY2" fmla="*/ 543672 h 3065161"/>
                <a:gd name="connsiteX3" fmla="*/ 0 w 1209457"/>
                <a:gd name="connsiteY3" fmla="*/ 0 h 3065161"/>
                <a:gd name="connsiteX0" fmla="*/ 0 w 1215807"/>
                <a:gd name="connsiteY0" fmla="*/ 0 h 3065161"/>
                <a:gd name="connsiteX1" fmla="*/ 507597 w 1215807"/>
                <a:gd name="connsiteY1" fmla="*/ 3065161 h 3065161"/>
                <a:gd name="connsiteX2" fmla="*/ 1215807 w 1215807"/>
                <a:gd name="connsiteY2" fmla="*/ 537322 h 3065161"/>
                <a:gd name="connsiteX3" fmla="*/ 0 w 1215807"/>
                <a:gd name="connsiteY3" fmla="*/ 0 h 3065161"/>
                <a:gd name="connsiteX0" fmla="*/ 0 w 1209457"/>
                <a:gd name="connsiteY0" fmla="*/ 0 h 3077861"/>
                <a:gd name="connsiteX1" fmla="*/ 501247 w 1209457"/>
                <a:gd name="connsiteY1" fmla="*/ 3077861 h 3077861"/>
                <a:gd name="connsiteX2" fmla="*/ 1209457 w 1209457"/>
                <a:gd name="connsiteY2" fmla="*/ 550022 h 3077861"/>
                <a:gd name="connsiteX3" fmla="*/ 0 w 1209457"/>
                <a:gd name="connsiteY3" fmla="*/ 0 h 3077861"/>
                <a:gd name="connsiteX0" fmla="*/ 0 w 1209457"/>
                <a:gd name="connsiteY0" fmla="*/ 0 h 3091509"/>
                <a:gd name="connsiteX1" fmla="*/ 501247 w 1209457"/>
                <a:gd name="connsiteY1" fmla="*/ 3091509 h 3091509"/>
                <a:gd name="connsiteX2" fmla="*/ 1209457 w 1209457"/>
                <a:gd name="connsiteY2" fmla="*/ 550022 h 3091509"/>
                <a:gd name="connsiteX3" fmla="*/ 0 w 1209457"/>
                <a:gd name="connsiteY3" fmla="*/ 0 h 3091509"/>
              </a:gdLst>
              <a:ahLst/>
              <a:cxnLst>
                <a:cxn ang="0">
                  <a:pos x="connsiteX0" y="connsiteY0"/>
                </a:cxn>
                <a:cxn ang="0">
                  <a:pos x="connsiteX1" y="connsiteY1"/>
                </a:cxn>
                <a:cxn ang="0">
                  <a:pos x="connsiteX2" y="connsiteY2"/>
                </a:cxn>
                <a:cxn ang="0">
                  <a:pos x="connsiteX3" y="connsiteY3"/>
                </a:cxn>
              </a:cxnLst>
              <a:rect l="l" t="t" r="r" b="b"/>
              <a:pathLst>
                <a:path w="1209457" h="3091509">
                  <a:moveTo>
                    <a:pt x="0" y="0"/>
                  </a:moveTo>
                  <a:lnTo>
                    <a:pt x="501247" y="3091509"/>
                  </a:lnTo>
                  <a:lnTo>
                    <a:pt x="1209457" y="550022"/>
                  </a:lnTo>
                  <a:lnTo>
                    <a:pt x="0" y="0"/>
                  </a:lnTo>
                  <a:close/>
                </a:path>
              </a:pathLst>
            </a:custGeom>
            <a:gradFill>
              <a:gsLst>
                <a:gs pos="100000">
                  <a:schemeClr val="accent3"/>
                </a:gs>
                <a:gs pos="44000">
                  <a:schemeClr val="accent2"/>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7" name="Freeform 26"/>
            <p:cNvSpPr/>
            <p:nvPr/>
          </p:nvSpPr>
          <p:spPr>
            <a:xfrm>
              <a:off x="11488254" y="4321334"/>
              <a:ext cx="708319" cy="2552078"/>
            </a:xfrm>
            <a:custGeom>
              <a:avLst/>
              <a:gdLst>
                <a:gd name="connsiteX0" fmla="*/ 691978 w 697728"/>
                <a:gd name="connsiteY0" fmla="*/ 0 h 2520778"/>
                <a:gd name="connsiteX1" fmla="*/ 0 w 697728"/>
                <a:gd name="connsiteY1" fmla="*/ 2520778 h 2520778"/>
                <a:gd name="connsiteX2" fmla="*/ 695509 w 697728"/>
                <a:gd name="connsiteY2" fmla="*/ 2517248 h 2520778"/>
                <a:gd name="connsiteX3" fmla="*/ 691978 w 697728"/>
                <a:gd name="connsiteY3" fmla="*/ 0 h 2520778"/>
                <a:gd name="connsiteX0" fmla="*/ 691978 w 697728"/>
                <a:gd name="connsiteY0" fmla="*/ 0 h 2531370"/>
                <a:gd name="connsiteX1" fmla="*/ 0 w 697728"/>
                <a:gd name="connsiteY1" fmla="*/ 2531370 h 2531370"/>
                <a:gd name="connsiteX2" fmla="*/ 695509 w 697728"/>
                <a:gd name="connsiteY2" fmla="*/ 2517248 h 2531370"/>
                <a:gd name="connsiteX3" fmla="*/ 691978 w 697728"/>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9039 w 704789"/>
                <a:gd name="connsiteY0" fmla="*/ 0 h 2541962"/>
                <a:gd name="connsiteX1" fmla="*/ 0 w 704789"/>
                <a:gd name="connsiteY1" fmla="*/ 2541962 h 2541962"/>
                <a:gd name="connsiteX2" fmla="*/ 702570 w 704789"/>
                <a:gd name="connsiteY2" fmla="*/ 2538431 h 2541962"/>
                <a:gd name="connsiteX3" fmla="*/ 699039 w 704789"/>
                <a:gd name="connsiteY3" fmla="*/ 0 h 2541962"/>
                <a:gd name="connsiteX0" fmla="*/ 702569 w 708319"/>
                <a:gd name="connsiteY0" fmla="*/ 0 h 2538431"/>
                <a:gd name="connsiteX1" fmla="*/ 0 w 708319"/>
                <a:gd name="connsiteY1" fmla="*/ 2538431 h 2538431"/>
                <a:gd name="connsiteX2" fmla="*/ 706100 w 708319"/>
                <a:gd name="connsiteY2" fmla="*/ 2538431 h 2538431"/>
                <a:gd name="connsiteX3" fmla="*/ 702569 w 708319"/>
                <a:gd name="connsiteY3" fmla="*/ 0 h 2538431"/>
                <a:gd name="connsiteX0" fmla="*/ 667264 w 673014"/>
                <a:gd name="connsiteY0" fmla="*/ 0 h 2538431"/>
                <a:gd name="connsiteX1" fmla="*/ 0 w 673014"/>
                <a:gd name="connsiteY1" fmla="*/ 2252460 h 2538431"/>
                <a:gd name="connsiteX2" fmla="*/ 670795 w 673014"/>
                <a:gd name="connsiteY2" fmla="*/ 2538431 h 2538431"/>
                <a:gd name="connsiteX3" fmla="*/ 667264 w 673014"/>
                <a:gd name="connsiteY3" fmla="*/ 0 h 2538431"/>
                <a:gd name="connsiteX0" fmla="*/ 702569 w 708319"/>
                <a:gd name="connsiteY0" fmla="*/ 0 h 2541961"/>
                <a:gd name="connsiteX1" fmla="*/ 0 w 708319"/>
                <a:gd name="connsiteY1" fmla="*/ 2541961 h 2541961"/>
                <a:gd name="connsiteX2" fmla="*/ 706100 w 708319"/>
                <a:gd name="connsiteY2" fmla="*/ 2538431 h 2541961"/>
                <a:gd name="connsiteX3" fmla="*/ 702569 w 708319"/>
                <a:gd name="connsiteY3" fmla="*/ 0 h 2541961"/>
                <a:gd name="connsiteX0" fmla="*/ 702569 w 708319"/>
                <a:gd name="connsiteY0" fmla="*/ 0 h 2538431"/>
                <a:gd name="connsiteX1" fmla="*/ 0 w 708319"/>
                <a:gd name="connsiteY1" fmla="*/ 2534900 h 2538431"/>
                <a:gd name="connsiteX2" fmla="*/ 706100 w 708319"/>
                <a:gd name="connsiteY2" fmla="*/ 2538431 h 2538431"/>
                <a:gd name="connsiteX3" fmla="*/ 702569 w 708319"/>
                <a:gd name="connsiteY3" fmla="*/ 0 h 2538431"/>
                <a:gd name="connsiteX0" fmla="*/ 702569 w 708319"/>
                <a:gd name="connsiteY0" fmla="*/ 0 h 2548548"/>
                <a:gd name="connsiteX1" fmla="*/ 0 w 708319"/>
                <a:gd name="connsiteY1" fmla="*/ 2548548 h 2548548"/>
                <a:gd name="connsiteX2" fmla="*/ 706100 w 708319"/>
                <a:gd name="connsiteY2" fmla="*/ 2538431 h 2548548"/>
                <a:gd name="connsiteX3" fmla="*/ 702569 w 708319"/>
                <a:gd name="connsiteY3" fmla="*/ 0 h 2548548"/>
                <a:gd name="connsiteX0" fmla="*/ 702569 w 704906"/>
                <a:gd name="connsiteY0" fmla="*/ 0 h 2548548"/>
                <a:gd name="connsiteX1" fmla="*/ 0 w 704906"/>
                <a:gd name="connsiteY1" fmla="*/ 2548548 h 2548548"/>
                <a:gd name="connsiteX2" fmla="*/ 692452 w 704906"/>
                <a:gd name="connsiteY2" fmla="*/ 2538431 h 2548548"/>
                <a:gd name="connsiteX3" fmla="*/ 702569 w 704906"/>
                <a:gd name="connsiteY3" fmla="*/ 0 h 2548548"/>
                <a:gd name="connsiteX0" fmla="*/ 702569 w 708319"/>
                <a:gd name="connsiteY0" fmla="*/ 0 h 2565726"/>
                <a:gd name="connsiteX1" fmla="*/ 0 w 708319"/>
                <a:gd name="connsiteY1" fmla="*/ 2548548 h 2565726"/>
                <a:gd name="connsiteX2" fmla="*/ 706100 w 708319"/>
                <a:gd name="connsiteY2" fmla="*/ 2565726 h 2565726"/>
                <a:gd name="connsiteX3" fmla="*/ 702569 w 708319"/>
                <a:gd name="connsiteY3" fmla="*/ 0 h 2565726"/>
                <a:gd name="connsiteX0" fmla="*/ 702569 w 708319"/>
                <a:gd name="connsiteY0" fmla="*/ 0 h 2552078"/>
                <a:gd name="connsiteX1" fmla="*/ 0 w 708319"/>
                <a:gd name="connsiteY1" fmla="*/ 2548548 h 2552078"/>
                <a:gd name="connsiteX2" fmla="*/ 706100 w 708319"/>
                <a:gd name="connsiteY2" fmla="*/ 2552078 h 2552078"/>
                <a:gd name="connsiteX3" fmla="*/ 702569 w 708319"/>
                <a:gd name="connsiteY3" fmla="*/ 0 h 2552078"/>
              </a:gdLst>
              <a:ahLst/>
              <a:cxnLst>
                <a:cxn ang="0">
                  <a:pos x="connsiteX0" y="connsiteY0"/>
                </a:cxn>
                <a:cxn ang="0">
                  <a:pos x="connsiteX1" y="connsiteY1"/>
                </a:cxn>
                <a:cxn ang="0">
                  <a:pos x="connsiteX2" y="connsiteY2"/>
                </a:cxn>
                <a:cxn ang="0">
                  <a:pos x="connsiteX3" y="connsiteY3"/>
                </a:cxn>
              </a:cxnLst>
              <a:rect l="l" t="t" r="r" b="b"/>
              <a:pathLst>
                <a:path w="708319" h="2552078">
                  <a:moveTo>
                    <a:pt x="702569" y="0"/>
                  </a:moveTo>
                  <a:lnTo>
                    <a:pt x="0" y="2548548"/>
                  </a:lnTo>
                  <a:lnTo>
                    <a:pt x="706100" y="2552078"/>
                  </a:lnTo>
                  <a:cubicBezTo>
                    <a:pt x="708454" y="1710642"/>
                    <a:pt x="710807" y="834375"/>
                    <a:pt x="702569" y="0"/>
                  </a:cubicBezTo>
                  <a:close/>
                </a:path>
              </a:pathLst>
            </a:custGeom>
            <a:gradFill>
              <a:gsLst>
                <a:gs pos="100000">
                  <a:schemeClr val="accent3"/>
                </a:gs>
                <a:gs pos="44000">
                  <a:schemeClr val="accent2"/>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0" name="Freeform 29"/>
            <p:cNvSpPr/>
            <p:nvPr/>
          </p:nvSpPr>
          <p:spPr>
            <a:xfrm>
              <a:off x="-9845" y="-7221"/>
              <a:ext cx="3120462" cy="1793286"/>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 name="connsiteX0" fmla="*/ 0 w 3081965"/>
                <a:gd name="connsiteY0" fmla="*/ 0 h 1775900"/>
                <a:gd name="connsiteX1" fmla="*/ 1036790 w 3081965"/>
                <a:gd name="connsiteY1" fmla="*/ 1773715 h 1775900"/>
                <a:gd name="connsiteX2" fmla="*/ 3081965 w 3081965"/>
                <a:gd name="connsiteY2" fmla="*/ 1775900 h 1775900"/>
                <a:gd name="connsiteX3" fmla="*/ 0 w 3081965"/>
                <a:gd name="connsiteY3" fmla="*/ 0 h 1775900"/>
                <a:gd name="connsiteX0" fmla="*/ 0 w 3086728"/>
                <a:gd name="connsiteY0" fmla="*/ 0 h 1775900"/>
                <a:gd name="connsiteX1" fmla="*/ 1036790 w 3086728"/>
                <a:gd name="connsiteY1" fmla="*/ 1773715 h 1775900"/>
                <a:gd name="connsiteX2" fmla="*/ 3086728 w 3086728"/>
                <a:gd name="connsiteY2" fmla="*/ 1775900 h 1775900"/>
                <a:gd name="connsiteX3" fmla="*/ 0 w 3086728"/>
                <a:gd name="connsiteY3" fmla="*/ 0 h 1775900"/>
                <a:gd name="connsiteX0" fmla="*/ 0 w 3091491"/>
                <a:gd name="connsiteY0" fmla="*/ 0 h 1799713"/>
                <a:gd name="connsiteX1" fmla="*/ 1036790 w 3091491"/>
                <a:gd name="connsiteY1" fmla="*/ 1773715 h 1799713"/>
                <a:gd name="connsiteX2" fmla="*/ 3091491 w 3091491"/>
                <a:gd name="connsiteY2" fmla="*/ 1799713 h 1799713"/>
                <a:gd name="connsiteX3" fmla="*/ 0 w 3091491"/>
                <a:gd name="connsiteY3" fmla="*/ 0 h 1799713"/>
                <a:gd name="connsiteX0" fmla="*/ 0 w 3120066"/>
                <a:gd name="connsiteY0" fmla="*/ 0 h 1799713"/>
                <a:gd name="connsiteX1" fmla="*/ 1036790 w 3120066"/>
                <a:gd name="connsiteY1" fmla="*/ 1773715 h 1799713"/>
                <a:gd name="connsiteX2" fmla="*/ 3120066 w 3120066"/>
                <a:gd name="connsiteY2" fmla="*/ 1799713 h 1799713"/>
                <a:gd name="connsiteX3" fmla="*/ 0 w 3120066"/>
                <a:gd name="connsiteY3" fmla="*/ 0 h 1799713"/>
                <a:gd name="connsiteX0" fmla="*/ 0 w 3120066"/>
                <a:gd name="connsiteY0" fmla="*/ 0 h 1799713"/>
                <a:gd name="connsiteX1" fmla="*/ 1019730 w 3120066"/>
                <a:gd name="connsiteY1" fmla="*/ 1773715 h 1799713"/>
                <a:gd name="connsiteX2" fmla="*/ 3120066 w 3120066"/>
                <a:gd name="connsiteY2" fmla="*/ 1799713 h 1799713"/>
                <a:gd name="connsiteX3" fmla="*/ 0 w 3120066"/>
                <a:gd name="connsiteY3" fmla="*/ 0 h 1799713"/>
                <a:gd name="connsiteX0" fmla="*/ 0 w 3133714"/>
                <a:gd name="connsiteY0" fmla="*/ 0 h 1799713"/>
                <a:gd name="connsiteX1" fmla="*/ 1033378 w 3133714"/>
                <a:gd name="connsiteY1" fmla="*/ 1773715 h 1799713"/>
                <a:gd name="connsiteX2" fmla="*/ 3133714 w 3133714"/>
                <a:gd name="connsiteY2" fmla="*/ 1799713 h 1799713"/>
                <a:gd name="connsiteX3" fmla="*/ 0 w 3133714"/>
                <a:gd name="connsiteY3" fmla="*/ 0 h 1799713"/>
                <a:gd name="connsiteX0" fmla="*/ 0 w 3140538"/>
                <a:gd name="connsiteY0" fmla="*/ 0 h 1799713"/>
                <a:gd name="connsiteX1" fmla="*/ 1040202 w 3140538"/>
                <a:gd name="connsiteY1" fmla="*/ 1773715 h 1799713"/>
                <a:gd name="connsiteX2" fmla="*/ 3140538 w 3140538"/>
                <a:gd name="connsiteY2" fmla="*/ 1799713 h 1799713"/>
                <a:gd name="connsiteX3" fmla="*/ 0 w 3140538"/>
                <a:gd name="connsiteY3" fmla="*/ 0 h 1799713"/>
                <a:gd name="connsiteX0" fmla="*/ 0 w 3126890"/>
                <a:gd name="connsiteY0" fmla="*/ 0 h 1786065"/>
                <a:gd name="connsiteX1" fmla="*/ 1040202 w 3126890"/>
                <a:gd name="connsiteY1" fmla="*/ 1773715 h 1786065"/>
                <a:gd name="connsiteX2" fmla="*/ 3126890 w 3126890"/>
                <a:gd name="connsiteY2" fmla="*/ 1786065 h 1786065"/>
                <a:gd name="connsiteX3" fmla="*/ 0 w 3126890"/>
                <a:gd name="connsiteY3" fmla="*/ 0 h 1786065"/>
                <a:gd name="connsiteX0" fmla="*/ 0 w 3113242"/>
                <a:gd name="connsiteY0" fmla="*/ 0 h 1782653"/>
                <a:gd name="connsiteX1" fmla="*/ 1026554 w 3113242"/>
                <a:gd name="connsiteY1" fmla="*/ 1770303 h 1782653"/>
                <a:gd name="connsiteX2" fmla="*/ 3113242 w 3113242"/>
                <a:gd name="connsiteY2" fmla="*/ 1782653 h 1782653"/>
                <a:gd name="connsiteX3" fmla="*/ 0 w 3113242"/>
                <a:gd name="connsiteY3" fmla="*/ 0 h 1782653"/>
                <a:gd name="connsiteX0" fmla="*/ 0 w 3123478"/>
                <a:gd name="connsiteY0" fmla="*/ 0 h 1782653"/>
                <a:gd name="connsiteX1" fmla="*/ 1036790 w 3123478"/>
                <a:gd name="connsiteY1" fmla="*/ 1770303 h 1782653"/>
                <a:gd name="connsiteX2" fmla="*/ 3123478 w 3123478"/>
                <a:gd name="connsiteY2" fmla="*/ 1782653 h 1782653"/>
                <a:gd name="connsiteX3" fmla="*/ 0 w 3123478"/>
                <a:gd name="connsiteY3" fmla="*/ 0 h 1782653"/>
                <a:gd name="connsiteX0" fmla="*/ 0 w 3109830"/>
                <a:gd name="connsiteY0" fmla="*/ 0 h 1782653"/>
                <a:gd name="connsiteX1" fmla="*/ 1036790 w 3109830"/>
                <a:gd name="connsiteY1" fmla="*/ 1770303 h 1782653"/>
                <a:gd name="connsiteX2" fmla="*/ 3109830 w 3109830"/>
                <a:gd name="connsiteY2" fmla="*/ 1782653 h 1782653"/>
                <a:gd name="connsiteX3" fmla="*/ 0 w 3109830"/>
                <a:gd name="connsiteY3" fmla="*/ 0 h 1782653"/>
                <a:gd name="connsiteX0" fmla="*/ 0 w 3120462"/>
                <a:gd name="connsiteY0" fmla="*/ 0 h 1793286"/>
                <a:gd name="connsiteX1" fmla="*/ 1047422 w 3120462"/>
                <a:gd name="connsiteY1" fmla="*/ 1780936 h 1793286"/>
                <a:gd name="connsiteX2" fmla="*/ 3120462 w 3120462"/>
                <a:gd name="connsiteY2" fmla="*/ 1793286 h 1793286"/>
                <a:gd name="connsiteX3" fmla="*/ 0 w 3120462"/>
                <a:gd name="connsiteY3" fmla="*/ 0 h 1793286"/>
              </a:gdLst>
              <a:ahLst/>
              <a:cxnLst>
                <a:cxn ang="0">
                  <a:pos x="connsiteX0" y="connsiteY0"/>
                </a:cxn>
                <a:cxn ang="0">
                  <a:pos x="connsiteX1" y="connsiteY1"/>
                </a:cxn>
                <a:cxn ang="0">
                  <a:pos x="connsiteX2" y="connsiteY2"/>
                </a:cxn>
                <a:cxn ang="0">
                  <a:pos x="connsiteX3" y="connsiteY3"/>
                </a:cxn>
              </a:cxnLst>
              <a:rect l="l" t="t" r="r" b="b"/>
              <a:pathLst>
                <a:path w="3120462" h="1793286">
                  <a:moveTo>
                    <a:pt x="0" y="0"/>
                  </a:moveTo>
                  <a:lnTo>
                    <a:pt x="1047422" y="1780936"/>
                  </a:lnTo>
                  <a:lnTo>
                    <a:pt x="3120462" y="1793286"/>
                  </a:lnTo>
                  <a:lnTo>
                    <a:pt x="0" y="0"/>
                  </a:lnTo>
                  <a:close/>
                </a:path>
              </a:pathLst>
            </a:custGeom>
            <a:gradFill>
              <a:gsLst>
                <a:gs pos="62000">
                  <a:schemeClr val="accent3"/>
                </a:gs>
                <a:gs pos="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1" name="Freeform 30"/>
            <p:cNvSpPr/>
            <p:nvPr/>
          </p:nvSpPr>
          <p:spPr>
            <a:xfrm>
              <a:off x="-3295" y="1769807"/>
              <a:ext cx="1407341" cy="5098422"/>
            </a:xfrm>
            <a:custGeom>
              <a:avLst/>
              <a:gdLst>
                <a:gd name="connsiteX0" fmla="*/ 1026488 w 1398147"/>
                <a:gd name="connsiteY0" fmla="*/ 0 h 5073445"/>
                <a:gd name="connsiteX1" fmla="*/ 1398147 w 1398147"/>
                <a:gd name="connsiteY1" fmla="*/ 1875995 h 5073445"/>
                <a:gd name="connsiteX2" fmla="*/ 0 w 1398147"/>
                <a:gd name="connsiteY2" fmla="*/ 5073445 h 5073445"/>
                <a:gd name="connsiteX3" fmla="*/ 1026488 w 1398147"/>
                <a:gd name="connsiteY3" fmla="*/ 0 h 5073445"/>
                <a:gd name="connsiteX0" fmla="*/ 1032388 w 1398147"/>
                <a:gd name="connsiteY0" fmla="*/ 0 h 5055747"/>
                <a:gd name="connsiteX1" fmla="*/ 1398147 w 1398147"/>
                <a:gd name="connsiteY1" fmla="*/ 1858297 h 5055747"/>
                <a:gd name="connsiteX2" fmla="*/ 0 w 1398147"/>
                <a:gd name="connsiteY2" fmla="*/ 5055747 h 5055747"/>
                <a:gd name="connsiteX3" fmla="*/ 1032388 w 1398147"/>
                <a:gd name="connsiteY3" fmla="*/ 0 h 5055747"/>
                <a:gd name="connsiteX0" fmla="*/ 1032388 w 1398147"/>
                <a:gd name="connsiteY0" fmla="*/ 0 h 5061646"/>
                <a:gd name="connsiteX1" fmla="*/ 1398147 w 1398147"/>
                <a:gd name="connsiteY1" fmla="*/ 1864196 h 5061646"/>
                <a:gd name="connsiteX2" fmla="*/ 0 w 1398147"/>
                <a:gd name="connsiteY2" fmla="*/ 5061646 h 5061646"/>
                <a:gd name="connsiteX3" fmla="*/ 1032388 w 1398147"/>
                <a:gd name="connsiteY3" fmla="*/ 0 h 5061646"/>
                <a:gd name="connsiteX0" fmla="*/ 1032388 w 1398147"/>
                <a:gd name="connsiteY0" fmla="*/ 0 h 5079344"/>
                <a:gd name="connsiteX1" fmla="*/ 1398147 w 1398147"/>
                <a:gd name="connsiteY1" fmla="*/ 1881894 h 5079344"/>
                <a:gd name="connsiteX2" fmla="*/ 0 w 1398147"/>
                <a:gd name="connsiteY2" fmla="*/ 5079344 h 5079344"/>
                <a:gd name="connsiteX3" fmla="*/ 1032388 w 1398147"/>
                <a:gd name="connsiteY3" fmla="*/ 0 h 5079344"/>
                <a:gd name="connsiteX0" fmla="*/ 1032388 w 1398147"/>
                <a:gd name="connsiteY0" fmla="*/ 0 h 5089936"/>
                <a:gd name="connsiteX1" fmla="*/ 1398147 w 1398147"/>
                <a:gd name="connsiteY1" fmla="*/ 1881894 h 5089936"/>
                <a:gd name="connsiteX2" fmla="*/ 0 w 1398147"/>
                <a:gd name="connsiteY2" fmla="*/ 5089936 h 5089936"/>
                <a:gd name="connsiteX3" fmla="*/ 1032388 w 1398147"/>
                <a:gd name="connsiteY3" fmla="*/ 0 h 5089936"/>
                <a:gd name="connsiteX0" fmla="*/ 1039450 w 1405209"/>
                <a:gd name="connsiteY0" fmla="*/ 0 h 5089936"/>
                <a:gd name="connsiteX1" fmla="*/ 1405209 w 1405209"/>
                <a:gd name="connsiteY1" fmla="*/ 1881894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8890 w 1405209"/>
                <a:gd name="connsiteY3" fmla="*/ 5081754 h 5089936"/>
                <a:gd name="connsiteX4" fmla="*/ 1039450 w 1405209"/>
                <a:gd name="connsiteY4" fmla="*/ 0 h 5089936"/>
                <a:gd name="connsiteX0" fmla="*/ 1041582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41582 w 1407341"/>
                <a:gd name="connsiteY4" fmla="*/ 0 h 5098422"/>
                <a:gd name="connsiteX0" fmla="*/ 1034758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34758 w 1407341"/>
                <a:gd name="connsiteY4" fmla="*/ 0 h 509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341" h="5098422">
                  <a:moveTo>
                    <a:pt x="1034758" y="0"/>
                  </a:moveTo>
                  <a:lnTo>
                    <a:pt x="1407341" y="1891419"/>
                  </a:lnTo>
                  <a:lnTo>
                    <a:pt x="2132" y="5089936"/>
                  </a:lnTo>
                  <a:cubicBezTo>
                    <a:pt x="5095" y="5083774"/>
                    <a:pt x="-2244" y="5103370"/>
                    <a:pt x="719" y="5097208"/>
                  </a:cubicBezTo>
                  <a:lnTo>
                    <a:pt x="1034758" y="0"/>
                  </a:lnTo>
                  <a:close/>
                </a:path>
              </a:pathLst>
            </a:custGeom>
            <a:gradFill>
              <a:gsLst>
                <a:gs pos="100000">
                  <a:schemeClr val="accent3"/>
                </a:gs>
                <a:gs pos="44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2" name="Freeform 31"/>
            <p:cNvSpPr/>
            <p:nvPr/>
          </p:nvSpPr>
          <p:spPr>
            <a:xfrm>
              <a:off x="8694845" y="2426110"/>
              <a:ext cx="2293341" cy="4440419"/>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 name="connsiteX0" fmla="*/ 958645 w 2269487"/>
                <a:gd name="connsiteY0" fmla="*/ 0 h 4424516"/>
                <a:gd name="connsiteX1" fmla="*/ 2269487 w 2269487"/>
                <a:gd name="connsiteY1" fmla="*/ 1388112 h 4424516"/>
                <a:gd name="connsiteX2" fmla="*/ 0 w 2269487"/>
                <a:gd name="connsiteY2" fmla="*/ 4424516 h 4424516"/>
                <a:gd name="connsiteX3" fmla="*/ 958645 w 2269487"/>
                <a:gd name="connsiteY3" fmla="*/ 0 h 4424516"/>
                <a:gd name="connsiteX0" fmla="*/ 982499 w 2293341"/>
                <a:gd name="connsiteY0" fmla="*/ 0 h 4440419"/>
                <a:gd name="connsiteX1" fmla="*/ 2293341 w 2293341"/>
                <a:gd name="connsiteY1" fmla="*/ 1388112 h 4440419"/>
                <a:gd name="connsiteX2" fmla="*/ 0 w 2293341"/>
                <a:gd name="connsiteY2" fmla="*/ 4440419 h 4440419"/>
                <a:gd name="connsiteX3" fmla="*/ 982499 w 2293341"/>
                <a:gd name="connsiteY3" fmla="*/ 0 h 4440419"/>
              </a:gdLst>
              <a:ahLst/>
              <a:cxnLst>
                <a:cxn ang="0">
                  <a:pos x="connsiteX0" y="connsiteY0"/>
                </a:cxn>
                <a:cxn ang="0">
                  <a:pos x="connsiteX1" y="connsiteY1"/>
                </a:cxn>
                <a:cxn ang="0">
                  <a:pos x="connsiteX2" y="connsiteY2"/>
                </a:cxn>
                <a:cxn ang="0">
                  <a:pos x="connsiteX3" y="connsiteY3"/>
                </a:cxn>
              </a:cxnLst>
              <a:rect l="l" t="t" r="r" b="b"/>
              <a:pathLst>
                <a:path w="2293341" h="4440419">
                  <a:moveTo>
                    <a:pt x="982499" y="0"/>
                  </a:moveTo>
                  <a:lnTo>
                    <a:pt x="2293341" y="1388112"/>
                  </a:lnTo>
                  <a:lnTo>
                    <a:pt x="0" y="4440419"/>
                  </a:lnTo>
                  <a:lnTo>
                    <a:pt x="982499" y="0"/>
                  </a:lnTo>
                  <a:close/>
                </a:path>
              </a:pathLst>
            </a:custGeom>
            <a:gradFill>
              <a:gsLst>
                <a:gs pos="100000">
                  <a:schemeClr val="accent3"/>
                </a:gs>
                <a:gs pos="29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3" name="Freeform 32"/>
            <p:cNvSpPr/>
            <p:nvPr/>
          </p:nvSpPr>
          <p:spPr>
            <a:xfrm>
              <a:off x="9669015" y="1066800"/>
              <a:ext cx="2530575" cy="2762250"/>
            </a:xfrm>
            <a:custGeom>
              <a:avLst/>
              <a:gdLst>
                <a:gd name="connsiteX0" fmla="*/ 2481262 w 2481262"/>
                <a:gd name="connsiteY0" fmla="*/ 0 h 2762250"/>
                <a:gd name="connsiteX1" fmla="*/ 0 w 2481262"/>
                <a:gd name="connsiteY1" fmla="*/ 1371600 h 2762250"/>
                <a:gd name="connsiteX2" fmla="*/ 1309687 w 2481262"/>
                <a:gd name="connsiteY2" fmla="*/ 2762250 h 2762250"/>
                <a:gd name="connsiteX3" fmla="*/ 2481262 w 2481262"/>
                <a:gd name="connsiteY3" fmla="*/ 0 h 2762250"/>
                <a:gd name="connsiteX0" fmla="*/ 2481262 w 2481262"/>
                <a:gd name="connsiteY0" fmla="*/ 0 h 2762250"/>
                <a:gd name="connsiteX1" fmla="*/ 0 w 2481262"/>
                <a:gd name="connsiteY1" fmla="*/ 1371600 h 2762250"/>
                <a:gd name="connsiteX2" fmla="*/ 1292857 w 2481262"/>
                <a:gd name="connsiteY2" fmla="*/ 2762250 h 2762250"/>
                <a:gd name="connsiteX3" fmla="*/ 2481262 w 2481262"/>
                <a:gd name="connsiteY3" fmla="*/ 0 h 2762250"/>
                <a:gd name="connsiteX0" fmla="*/ 2509311 w 2509311"/>
                <a:gd name="connsiteY0" fmla="*/ 0 h 2762250"/>
                <a:gd name="connsiteX1" fmla="*/ 0 w 2509311"/>
                <a:gd name="connsiteY1" fmla="*/ 1354771 h 2762250"/>
                <a:gd name="connsiteX2" fmla="*/ 1320906 w 2509311"/>
                <a:gd name="connsiteY2" fmla="*/ 2762250 h 2762250"/>
                <a:gd name="connsiteX3" fmla="*/ 2509311 w 2509311"/>
                <a:gd name="connsiteY3" fmla="*/ 0 h 2762250"/>
                <a:gd name="connsiteX0" fmla="*/ 2519943 w 2519943"/>
                <a:gd name="connsiteY0" fmla="*/ 0 h 2762250"/>
                <a:gd name="connsiteX1" fmla="*/ 0 w 2519943"/>
                <a:gd name="connsiteY1" fmla="*/ 1354771 h 2762250"/>
                <a:gd name="connsiteX2" fmla="*/ 1320906 w 2519943"/>
                <a:gd name="connsiteY2" fmla="*/ 2762250 h 2762250"/>
                <a:gd name="connsiteX3" fmla="*/ 2519943 w 2519943"/>
                <a:gd name="connsiteY3" fmla="*/ 0 h 2762250"/>
                <a:gd name="connsiteX0" fmla="*/ 2530575 w 2530575"/>
                <a:gd name="connsiteY0" fmla="*/ 0 h 2762250"/>
                <a:gd name="connsiteX1" fmla="*/ 0 w 2530575"/>
                <a:gd name="connsiteY1" fmla="*/ 1354771 h 2762250"/>
                <a:gd name="connsiteX2" fmla="*/ 1320906 w 2530575"/>
                <a:gd name="connsiteY2" fmla="*/ 2762250 h 2762250"/>
                <a:gd name="connsiteX3" fmla="*/ 2530575 w 2530575"/>
                <a:gd name="connsiteY3" fmla="*/ 0 h 2762250"/>
              </a:gdLst>
              <a:ahLst/>
              <a:cxnLst>
                <a:cxn ang="0">
                  <a:pos x="connsiteX0" y="connsiteY0"/>
                </a:cxn>
                <a:cxn ang="0">
                  <a:pos x="connsiteX1" y="connsiteY1"/>
                </a:cxn>
                <a:cxn ang="0">
                  <a:pos x="connsiteX2" y="connsiteY2"/>
                </a:cxn>
                <a:cxn ang="0">
                  <a:pos x="connsiteX3" y="connsiteY3"/>
                </a:cxn>
              </a:cxnLst>
              <a:rect l="l" t="t" r="r" b="b"/>
              <a:pathLst>
                <a:path w="2530575" h="2762250">
                  <a:moveTo>
                    <a:pt x="2530575" y="0"/>
                  </a:moveTo>
                  <a:lnTo>
                    <a:pt x="0" y="1354771"/>
                  </a:lnTo>
                  <a:lnTo>
                    <a:pt x="1320906" y="2762250"/>
                  </a:lnTo>
                  <a:lnTo>
                    <a:pt x="2530575"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4" name="Freeform 33"/>
            <p:cNvSpPr/>
            <p:nvPr/>
          </p:nvSpPr>
          <p:spPr>
            <a:xfrm>
              <a:off x="3317358" y="-5316"/>
              <a:ext cx="4354033" cy="1222744"/>
            </a:xfrm>
            <a:custGeom>
              <a:avLst/>
              <a:gdLst>
                <a:gd name="connsiteX0" fmla="*/ 0 w 4354033"/>
                <a:gd name="connsiteY0" fmla="*/ 0 h 1217428"/>
                <a:gd name="connsiteX1" fmla="*/ 3067493 w 4354033"/>
                <a:gd name="connsiteY1" fmla="*/ 10632 h 1217428"/>
                <a:gd name="connsiteX2" fmla="*/ 4354033 w 4354033"/>
                <a:gd name="connsiteY2" fmla="*/ 1217428 h 1217428"/>
                <a:gd name="connsiteX3" fmla="*/ 0 w 4354033"/>
                <a:gd name="connsiteY3" fmla="*/ 0 h 1217428"/>
                <a:gd name="connsiteX0" fmla="*/ 0 w 4354033"/>
                <a:gd name="connsiteY0" fmla="*/ 0 h 1217428"/>
                <a:gd name="connsiteX1" fmla="*/ 3088758 w 4354033"/>
                <a:gd name="connsiteY1" fmla="*/ 10632 h 1217428"/>
                <a:gd name="connsiteX2" fmla="*/ 4354033 w 4354033"/>
                <a:gd name="connsiteY2" fmla="*/ 1217428 h 1217428"/>
                <a:gd name="connsiteX3" fmla="*/ 0 w 4354033"/>
                <a:gd name="connsiteY3" fmla="*/ 0 h 1217428"/>
                <a:gd name="connsiteX0" fmla="*/ 0 w 4375298"/>
                <a:gd name="connsiteY0" fmla="*/ 0 h 1217428"/>
                <a:gd name="connsiteX1" fmla="*/ 3088758 w 4375298"/>
                <a:gd name="connsiteY1" fmla="*/ 10632 h 1217428"/>
                <a:gd name="connsiteX2" fmla="*/ 4375298 w 4375298"/>
                <a:gd name="connsiteY2" fmla="*/ 1217428 h 1217428"/>
                <a:gd name="connsiteX3" fmla="*/ 0 w 4375298"/>
                <a:gd name="connsiteY3" fmla="*/ 0 h 1217428"/>
                <a:gd name="connsiteX0" fmla="*/ 0 w 4364666"/>
                <a:gd name="connsiteY0" fmla="*/ 0 h 1217428"/>
                <a:gd name="connsiteX1" fmla="*/ 3088758 w 4364666"/>
                <a:gd name="connsiteY1" fmla="*/ 10632 h 1217428"/>
                <a:gd name="connsiteX2" fmla="*/ 4364666 w 4364666"/>
                <a:gd name="connsiteY2" fmla="*/ 1217428 h 1217428"/>
                <a:gd name="connsiteX3" fmla="*/ 0 w 4364666"/>
                <a:gd name="connsiteY3" fmla="*/ 0 h 1217428"/>
                <a:gd name="connsiteX0" fmla="*/ 0 w 4354033"/>
                <a:gd name="connsiteY0" fmla="*/ 0 h 1222744"/>
                <a:gd name="connsiteX1" fmla="*/ 3088758 w 4354033"/>
                <a:gd name="connsiteY1" fmla="*/ 10632 h 1222744"/>
                <a:gd name="connsiteX2" fmla="*/ 4354033 w 4354033"/>
                <a:gd name="connsiteY2" fmla="*/ 1222744 h 1222744"/>
                <a:gd name="connsiteX3" fmla="*/ 0 w 4354033"/>
                <a:gd name="connsiteY3" fmla="*/ 0 h 1222744"/>
                <a:gd name="connsiteX0" fmla="*/ 0 w 4354033"/>
                <a:gd name="connsiteY0" fmla="*/ 5317 h 1228061"/>
                <a:gd name="connsiteX1" fmla="*/ 3083442 w 4354033"/>
                <a:gd name="connsiteY1" fmla="*/ 0 h 1228061"/>
                <a:gd name="connsiteX2" fmla="*/ 4354033 w 4354033"/>
                <a:gd name="connsiteY2" fmla="*/ 1228061 h 1228061"/>
                <a:gd name="connsiteX3" fmla="*/ 0 w 4354033"/>
                <a:gd name="connsiteY3" fmla="*/ 5317 h 1228061"/>
                <a:gd name="connsiteX0" fmla="*/ 0 w 4354033"/>
                <a:gd name="connsiteY0" fmla="*/ 0 h 1222744"/>
                <a:gd name="connsiteX1" fmla="*/ 3094074 w 4354033"/>
                <a:gd name="connsiteY1" fmla="*/ 5315 h 1222744"/>
                <a:gd name="connsiteX2" fmla="*/ 4354033 w 4354033"/>
                <a:gd name="connsiteY2" fmla="*/ 1222744 h 1222744"/>
                <a:gd name="connsiteX3" fmla="*/ 0 w 4354033"/>
                <a:gd name="connsiteY3" fmla="*/ 0 h 1222744"/>
              </a:gdLst>
              <a:ahLst/>
              <a:cxnLst>
                <a:cxn ang="0">
                  <a:pos x="connsiteX0" y="connsiteY0"/>
                </a:cxn>
                <a:cxn ang="0">
                  <a:pos x="connsiteX1" y="connsiteY1"/>
                </a:cxn>
                <a:cxn ang="0">
                  <a:pos x="connsiteX2" y="connsiteY2"/>
                </a:cxn>
                <a:cxn ang="0">
                  <a:pos x="connsiteX3" y="connsiteY3"/>
                </a:cxn>
              </a:cxnLst>
              <a:rect l="l" t="t" r="r" b="b"/>
              <a:pathLst>
                <a:path w="4354033" h="1222744">
                  <a:moveTo>
                    <a:pt x="0" y="0"/>
                  </a:moveTo>
                  <a:lnTo>
                    <a:pt x="3094074" y="5315"/>
                  </a:lnTo>
                  <a:lnTo>
                    <a:pt x="4354033" y="1222744"/>
                  </a:lnTo>
                  <a:lnTo>
                    <a:pt x="0" y="0"/>
                  </a:lnTo>
                  <a:close/>
                </a:path>
              </a:pathLst>
            </a:custGeom>
            <a:gradFill>
              <a:gsLst>
                <a:gs pos="100000">
                  <a:schemeClr val="accent3"/>
                </a:gs>
                <a:gs pos="8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35" name="Freeform 34"/>
            <p:cNvSpPr/>
            <p:nvPr/>
          </p:nvSpPr>
          <p:spPr>
            <a:xfrm>
              <a:off x="8690614" y="3782459"/>
              <a:ext cx="2818349" cy="3087424"/>
            </a:xfrm>
            <a:custGeom>
              <a:avLst/>
              <a:gdLst>
                <a:gd name="connsiteX0" fmla="*/ 2270113 w 2753791"/>
                <a:gd name="connsiteY0" fmla="*/ 0 h 3029171"/>
                <a:gd name="connsiteX1" fmla="*/ 0 w 2753791"/>
                <a:gd name="connsiteY1" fmla="*/ 3025640 h 3029171"/>
                <a:gd name="connsiteX2" fmla="*/ 2753791 w 2753791"/>
                <a:gd name="connsiteY2" fmla="*/ 3029171 h 3029171"/>
                <a:gd name="connsiteX3" fmla="*/ 2270113 w 2753791"/>
                <a:gd name="connsiteY3" fmla="*/ 0 h 3029171"/>
                <a:gd name="connsiteX0" fmla="*/ 2247810 w 2753791"/>
                <a:gd name="connsiteY0" fmla="*/ 0 h 3073776"/>
                <a:gd name="connsiteX1" fmla="*/ 0 w 2753791"/>
                <a:gd name="connsiteY1" fmla="*/ 3070245 h 3073776"/>
                <a:gd name="connsiteX2" fmla="*/ 2753791 w 2753791"/>
                <a:gd name="connsiteY2" fmla="*/ 3073776 h 3073776"/>
                <a:gd name="connsiteX3" fmla="*/ 2247810 w 2753791"/>
                <a:gd name="connsiteY3" fmla="*/ 0 h 3073776"/>
                <a:gd name="connsiteX0" fmla="*/ 2311420 w 2817401"/>
                <a:gd name="connsiteY0" fmla="*/ 0 h 3073776"/>
                <a:gd name="connsiteX1" fmla="*/ 0 w 2817401"/>
                <a:gd name="connsiteY1" fmla="*/ 3062294 h 3073776"/>
                <a:gd name="connsiteX2" fmla="*/ 2817401 w 2817401"/>
                <a:gd name="connsiteY2" fmla="*/ 3073776 h 3073776"/>
                <a:gd name="connsiteX3" fmla="*/ 2311420 w 2817401"/>
                <a:gd name="connsiteY3" fmla="*/ 0 h 3073776"/>
                <a:gd name="connsiteX0" fmla="*/ 2311420 w 2817401"/>
                <a:gd name="connsiteY0" fmla="*/ 0 h 3089589"/>
                <a:gd name="connsiteX1" fmla="*/ 0 w 2817401"/>
                <a:gd name="connsiteY1" fmla="*/ 3089589 h 3089589"/>
                <a:gd name="connsiteX2" fmla="*/ 2817401 w 2817401"/>
                <a:gd name="connsiteY2" fmla="*/ 3073776 h 3089589"/>
                <a:gd name="connsiteX3" fmla="*/ 2311420 w 2817401"/>
                <a:gd name="connsiteY3" fmla="*/ 0 h 3089589"/>
                <a:gd name="connsiteX0" fmla="*/ 2306657 w 2812638"/>
                <a:gd name="connsiteY0" fmla="*/ 0 h 3089589"/>
                <a:gd name="connsiteX1" fmla="*/ 0 w 2812638"/>
                <a:gd name="connsiteY1" fmla="*/ 3089589 h 3089589"/>
                <a:gd name="connsiteX2" fmla="*/ 2812638 w 2812638"/>
                <a:gd name="connsiteY2" fmla="*/ 3073776 h 3089589"/>
                <a:gd name="connsiteX3" fmla="*/ 2306657 w 2812638"/>
                <a:gd name="connsiteY3" fmla="*/ 0 h 3089589"/>
                <a:gd name="connsiteX0" fmla="*/ 2306657 w 2812638"/>
                <a:gd name="connsiteY0" fmla="*/ 0 h 3084826"/>
                <a:gd name="connsiteX1" fmla="*/ 0 w 2812638"/>
                <a:gd name="connsiteY1" fmla="*/ 3084826 h 3084826"/>
                <a:gd name="connsiteX2" fmla="*/ 2812638 w 2812638"/>
                <a:gd name="connsiteY2" fmla="*/ 3073776 h 3084826"/>
                <a:gd name="connsiteX3" fmla="*/ 2306657 w 2812638"/>
                <a:gd name="connsiteY3" fmla="*/ 0 h 3084826"/>
                <a:gd name="connsiteX0" fmla="*/ 2292370 w 2798351"/>
                <a:gd name="connsiteY0" fmla="*/ 0 h 3084826"/>
                <a:gd name="connsiteX1" fmla="*/ 0 w 2798351"/>
                <a:gd name="connsiteY1" fmla="*/ 3084826 h 3084826"/>
                <a:gd name="connsiteX2" fmla="*/ 2798351 w 2798351"/>
                <a:gd name="connsiteY2" fmla="*/ 3073776 h 3084826"/>
                <a:gd name="connsiteX3" fmla="*/ 2292370 w 279835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311420 w 2804701"/>
                <a:gd name="connsiteY0" fmla="*/ 0 h 3084826"/>
                <a:gd name="connsiteX1" fmla="*/ 0 w 2804701"/>
                <a:gd name="connsiteY1" fmla="*/ 3084826 h 3084826"/>
                <a:gd name="connsiteX2" fmla="*/ 2804701 w 2804701"/>
                <a:gd name="connsiteY2" fmla="*/ 3073776 h 3084826"/>
                <a:gd name="connsiteX3" fmla="*/ 2311420 w 2804701"/>
                <a:gd name="connsiteY3" fmla="*/ 0 h 3084826"/>
                <a:gd name="connsiteX0" fmla="*/ 2311420 w 2804701"/>
                <a:gd name="connsiteY0" fmla="*/ 0 h 3087424"/>
                <a:gd name="connsiteX1" fmla="*/ 0 w 2804701"/>
                <a:gd name="connsiteY1" fmla="*/ 3084826 h 3087424"/>
                <a:gd name="connsiteX2" fmla="*/ 2804701 w 2804701"/>
                <a:gd name="connsiteY2" fmla="*/ 3087424 h 3087424"/>
                <a:gd name="connsiteX3" fmla="*/ 2311420 w 2804701"/>
                <a:gd name="connsiteY3" fmla="*/ 0 h 3087424"/>
                <a:gd name="connsiteX0" fmla="*/ 2311420 w 2818349"/>
                <a:gd name="connsiteY0" fmla="*/ 0 h 3087424"/>
                <a:gd name="connsiteX1" fmla="*/ 0 w 2818349"/>
                <a:gd name="connsiteY1" fmla="*/ 3084826 h 3087424"/>
                <a:gd name="connsiteX2" fmla="*/ 2818349 w 2818349"/>
                <a:gd name="connsiteY2" fmla="*/ 3087424 h 3087424"/>
                <a:gd name="connsiteX3" fmla="*/ 2311420 w 2818349"/>
                <a:gd name="connsiteY3" fmla="*/ 0 h 3087424"/>
              </a:gdLst>
              <a:ahLst/>
              <a:cxnLst>
                <a:cxn ang="0">
                  <a:pos x="connsiteX0" y="connsiteY0"/>
                </a:cxn>
                <a:cxn ang="0">
                  <a:pos x="connsiteX1" y="connsiteY1"/>
                </a:cxn>
                <a:cxn ang="0">
                  <a:pos x="connsiteX2" y="connsiteY2"/>
                </a:cxn>
                <a:cxn ang="0">
                  <a:pos x="connsiteX3" y="connsiteY3"/>
                </a:cxn>
              </a:cxnLst>
              <a:rect l="l" t="t" r="r" b="b"/>
              <a:pathLst>
                <a:path w="2818349" h="3087424">
                  <a:moveTo>
                    <a:pt x="2311420" y="0"/>
                  </a:moveTo>
                  <a:lnTo>
                    <a:pt x="0" y="3084826"/>
                  </a:lnTo>
                  <a:lnTo>
                    <a:pt x="2818349" y="3087424"/>
                  </a:lnTo>
                  <a:lnTo>
                    <a:pt x="2311420" y="0"/>
                  </a:lnTo>
                  <a:close/>
                </a:path>
              </a:pathLst>
            </a:custGeom>
            <a:gradFill>
              <a:gsLst>
                <a:gs pos="100000">
                  <a:schemeClr val="accent3"/>
                </a:gs>
                <a:gs pos="32000">
                  <a:schemeClr val="accent2"/>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6" name="Freeform 35"/>
            <p:cNvSpPr/>
            <p:nvPr/>
          </p:nvSpPr>
          <p:spPr>
            <a:xfrm>
              <a:off x="7660347" y="1094096"/>
              <a:ext cx="4531653" cy="1344304"/>
            </a:xfrm>
            <a:custGeom>
              <a:avLst/>
              <a:gdLst>
                <a:gd name="connsiteX0" fmla="*/ 0 w 4533900"/>
                <a:gd name="connsiteY0" fmla="*/ 142875 h 1371600"/>
                <a:gd name="connsiteX1" fmla="*/ 4533900 w 4533900"/>
                <a:gd name="connsiteY1" fmla="*/ 0 h 1371600"/>
                <a:gd name="connsiteX2" fmla="*/ 2043113 w 4533900"/>
                <a:gd name="connsiteY2" fmla="*/ 1371600 h 1371600"/>
                <a:gd name="connsiteX3" fmla="*/ 0 w 4533900"/>
                <a:gd name="connsiteY3" fmla="*/ 142875 h 1371600"/>
                <a:gd name="connsiteX0" fmla="*/ 0 w 4533900"/>
                <a:gd name="connsiteY0" fmla="*/ 142875 h 1371600"/>
                <a:gd name="connsiteX1" fmla="*/ 4533900 w 4533900"/>
                <a:gd name="connsiteY1" fmla="*/ 0 h 1371600"/>
                <a:gd name="connsiteX2" fmla="*/ 2021848 w 4533900"/>
                <a:gd name="connsiteY2" fmla="*/ 1371600 h 1371600"/>
                <a:gd name="connsiteX3" fmla="*/ 0 w 4533900"/>
                <a:gd name="connsiteY3" fmla="*/ 142875 h 1371600"/>
                <a:gd name="connsiteX0" fmla="*/ 0 w 4544532"/>
                <a:gd name="connsiteY0" fmla="*/ 153508 h 1371600"/>
                <a:gd name="connsiteX1" fmla="*/ 4544532 w 4544532"/>
                <a:gd name="connsiteY1" fmla="*/ 0 h 1371600"/>
                <a:gd name="connsiteX2" fmla="*/ 2032480 w 4544532"/>
                <a:gd name="connsiteY2" fmla="*/ 1371600 h 1371600"/>
                <a:gd name="connsiteX3" fmla="*/ 0 w 4544532"/>
                <a:gd name="connsiteY3" fmla="*/ 153508 h 1371600"/>
                <a:gd name="connsiteX0" fmla="*/ 0 w 4544532"/>
                <a:gd name="connsiteY0" fmla="*/ 142875 h 1371600"/>
                <a:gd name="connsiteX1" fmla="*/ 4544532 w 4544532"/>
                <a:gd name="connsiteY1" fmla="*/ 0 h 1371600"/>
                <a:gd name="connsiteX2" fmla="*/ 2032480 w 4544532"/>
                <a:gd name="connsiteY2" fmla="*/ 1371600 h 1371600"/>
                <a:gd name="connsiteX3" fmla="*/ 0 w 4544532"/>
                <a:gd name="connsiteY3" fmla="*/ 142875 h 1371600"/>
                <a:gd name="connsiteX0" fmla="*/ 0 w 4536805"/>
                <a:gd name="connsiteY0" fmla="*/ 148026 h 1371600"/>
                <a:gd name="connsiteX1" fmla="*/ 4536805 w 4536805"/>
                <a:gd name="connsiteY1" fmla="*/ 0 h 1371600"/>
                <a:gd name="connsiteX2" fmla="*/ 2024753 w 4536805"/>
                <a:gd name="connsiteY2" fmla="*/ 1371600 h 1371600"/>
                <a:gd name="connsiteX3" fmla="*/ 0 w 4536805"/>
                <a:gd name="connsiteY3" fmla="*/ 148026 h 1371600"/>
                <a:gd name="connsiteX0" fmla="*/ 0 w 4531653"/>
                <a:gd name="connsiteY0" fmla="*/ 142874 h 1371600"/>
                <a:gd name="connsiteX1" fmla="*/ 4531653 w 4531653"/>
                <a:gd name="connsiteY1" fmla="*/ 0 h 1371600"/>
                <a:gd name="connsiteX2" fmla="*/ 2019601 w 4531653"/>
                <a:gd name="connsiteY2" fmla="*/ 1371600 h 1371600"/>
                <a:gd name="connsiteX3" fmla="*/ 0 w 4531653"/>
                <a:gd name="connsiteY3" fmla="*/ 142874 h 1371600"/>
                <a:gd name="connsiteX0" fmla="*/ 0 w 3944799"/>
                <a:gd name="connsiteY0" fmla="*/ 33692 h 1262418"/>
                <a:gd name="connsiteX1" fmla="*/ 3944799 w 3944799"/>
                <a:gd name="connsiteY1" fmla="*/ 0 h 1262418"/>
                <a:gd name="connsiteX2" fmla="*/ 2019601 w 3944799"/>
                <a:gd name="connsiteY2" fmla="*/ 1262418 h 1262418"/>
                <a:gd name="connsiteX3" fmla="*/ 0 w 3944799"/>
                <a:gd name="connsiteY3" fmla="*/ 33692 h 1262418"/>
                <a:gd name="connsiteX0" fmla="*/ 0 w 4531653"/>
                <a:gd name="connsiteY0" fmla="*/ 115578 h 1344304"/>
                <a:gd name="connsiteX1" fmla="*/ 4531653 w 4531653"/>
                <a:gd name="connsiteY1" fmla="*/ 0 h 1344304"/>
                <a:gd name="connsiteX2" fmla="*/ 2019601 w 4531653"/>
                <a:gd name="connsiteY2" fmla="*/ 1344304 h 1344304"/>
                <a:gd name="connsiteX3" fmla="*/ 0 w 4531653"/>
                <a:gd name="connsiteY3" fmla="*/ 115578 h 1344304"/>
              </a:gdLst>
              <a:ahLst/>
              <a:cxnLst>
                <a:cxn ang="0">
                  <a:pos x="connsiteX0" y="connsiteY0"/>
                </a:cxn>
                <a:cxn ang="0">
                  <a:pos x="connsiteX1" y="connsiteY1"/>
                </a:cxn>
                <a:cxn ang="0">
                  <a:pos x="connsiteX2" y="connsiteY2"/>
                </a:cxn>
                <a:cxn ang="0">
                  <a:pos x="connsiteX3" y="connsiteY3"/>
                </a:cxn>
              </a:cxnLst>
              <a:rect l="l" t="t" r="r" b="b"/>
              <a:pathLst>
                <a:path w="4531653" h="1344304">
                  <a:moveTo>
                    <a:pt x="0" y="115578"/>
                  </a:moveTo>
                  <a:lnTo>
                    <a:pt x="4531653" y="0"/>
                  </a:lnTo>
                  <a:lnTo>
                    <a:pt x="2019601" y="1344304"/>
                  </a:lnTo>
                  <a:lnTo>
                    <a:pt x="0" y="115578"/>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7" name="Freeform 36"/>
            <p:cNvSpPr/>
            <p:nvPr/>
          </p:nvSpPr>
          <p:spPr>
            <a:xfrm>
              <a:off x="4067336" y="4700371"/>
              <a:ext cx="4645354" cy="2166557"/>
            </a:xfrm>
            <a:custGeom>
              <a:avLst/>
              <a:gdLst>
                <a:gd name="connsiteX0" fmla="*/ 0 w 4632158"/>
                <a:gd name="connsiteY0" fmla="*/ 1239253 h 2129590"/>
                <a:gd name="connsiteX1" fmla="*/ 3645569 w 4632158"/>
                <a:gd name="connsiteY1" fmla="*/ 0 h 2129590"/>
                <a:gd name="connsiteX2" fmla="*/ 4632158 w 4632158"/>
                <a:gd name="connsiteY2" fmla="*/ 2129590 h 2129590"/>
                <a:gd name="connsiteX3" fmla="*/ 0 w 4632158"/>
                <a:gd name="connsiteY3" fmla="*/ 1239253 h 2129590"/>
                <a:gd name="connsiteX0" fmla="*/ 0 w 4632158"/>
                <a:gd name="connsiteY0" fmla="*/ 1243228 h 2133565"/>
                <a:gd name="connsiteX1" fmla="*/ 3641593 w 4632158"/>
                <a:gd name="connsiteY1" fmla="*/ 0 h 2133565"/>
                <a:gd name="connsiteX2" fmla="*/ 4632158 w 4632158"/>
                <a:gd name="connsiteY2" fmla="*/ 2133565 h 2133565"/>
                <a:gd name="connsiteX3" fmla="*/ 0 w 4632158"/>
                <a:gd name="connsiteY3" fmla="*/ 1243228 h 2133565"/>
                <a:gd name="connsiteX0" fmla="*/ 0 w 4656011"/>
                <a:gd name="connsiteY0" fmla="*/ 1243228 h 2157419"/>
                <a:gd name="connsiteX1" fmla="*/ 3641593 w 4656011"/>
                <a:gd name="connsiteY1" fmla="*/ 0 h 2157419"/>
                <a:gd name="connsiteX2" fmla="*/ 4656011 w 4656011"/>
                <a:gd name="connsiteY2" fmla="*/ 2157419 h 2157419"/>
                <a:gd name="connsiteX3" fmla="*/ 0 w 4656011"/>
                <a:gd name="connsiteY3" fmla="*/ 1243228 h 2157419"/>
                <a:gd name="connsiteX0" fmla="*/ 0 w 4659987"/>
                <a:gd name="connsiteY0" fmla="*/ 1247204 h 2157419"/>
                <a:gd name="connsiteX1" fmla="*/ 3645569 w 4659987"/>
                <a:gd name="connsiteY1" fmla="*/ 0 h 2157419"/>
                <a:gd name="connsiteX2" fmla="*/ 4659987 w 4659987"/>
                <a:gd name="connsiteY2" fmla="*/ 2157419 h 2157419"/>
                <a:gd name="connsiteX3" fmla="*/ 0 w 4659987"/>
                <a:gd name="connsiteY3" fmla="*/ 1247204 h 2157419"/>
                <a:gd name="connsiteX0" fmla="*/ 0 w 4667938"/>
                <a:gd name="connsiteY0" fmla="*/ 1263107 h 2157419"/>
                <a:gd name="connsiteX1" fmla="*/ 3653520 w 4667938"/>
                <a:gd name="connsiteY1" fmla="*/ 0 h 2157419"/>
                <a:gd name="connsiteX2" fmla="*/ 4667938 w 4667938"/>
                <a:gd name="connsiteY2" fmla="*/ 2157419 h 2157419"/>
                <a:gd name="connsiteX3" fmla="*/ 0 w 4667938"/>
                <a:gd name="connsiteY3" fmla="*/ 1263107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59987"/>
                <a:gd name="connsiteY0" fmla="*/ 1251181 h 2157419"/>
                <a:gd name="connsiteX1" fmla="*/ 3645569 w 4659987"/>
                <a:gd name="connsiteY1" fmla="*/ 0 h 2157419"/>
                <a:gd name="connsiteX2" fmla="*/ 4659987 w 4659987"/>
                <a:gd name="connsiteY2" fmla="*/ 2157419 h 2157419"/>
                <a:gd name="connsiteX3" fmla="*/ 0 w 4659987"/>
                <a:gd name="connsiteY3" fmla="*/ 1251181 h 2157419"/>
                <a:gd name="connsiteX0" fmla="*/ 0 w 4674275"/>
                <a:gd name="connsiteY0" fmla="*/ 1251181 h 2157419"/>
                <a:gd name="connsiteX1" fmla="*/ 3645569 w 4674275"/>
                <a:gd name="connsiteY1" fmla="*/ 0 h 2157419"/>
                <a:gd name="connsiteX2" fmla="*/ 4674275 w 4674275"/>
                <a:gd name="connsiteY2" fmla="*/ 2157419 h 2157419"/>
                <a:gd name="connsiteX3" fmla="*/ 0 w 4674275"/>
                <a:gd name="connsiteY3" fmla="*/ 1251181 h 2157419"/>
                <a:gd name="connsiteX0" fmla="*/ 0 w 4683800"/>
                <a:gd name="connsiteY0" fmla="*/ 1251181 h 2157419"/>
                <a:gd name="connsiteX1" fmla="*/ 3655094 w 4683800"/>
                <a:gd name="connsiteY1" fmla="*/ 0 h 2157419"/>
                <a:gd name="connsiteX2" fmla="*/ 4683800 w 4683800"/>
                <a:gd name="connsiteY2" fmla="*/ 2157419 h 2157419"/>
                <a:gd name="connsiteX3" fmla="*/ 0 w 4683800"/>
                <a:gd name="connsiteY3" fmla="*/ 1251181 h 2157419"/>
                <a:gd name="connsiteX0" fmla="*/ 0 w 4695230"/>
                <a:gd name="connsiteY0" fmla="*/ 1251181 h 2157419"/>
                <a:gd name="connsiteX1" fmla="*/ 3666524 w 4695230"/>
                <a:gd name="connsiteY1" fmla="*/ 0 h 2157419"/>
                <a:gd name="connsiteX2" fmla="*/ 4695230 w 4695230"/>
                <a:gd name="connsiteY2" fmla="*/ 2157419 h 2157419"/>
                <a:gd name="connsiteX3" fmla="*/ 0 w 4695230"/>
                <a:gd name="connsiteY3" fmla="*/ 1251181 h 2157419"/>
                <a:gd name="connsiteX0" fmla="*/ 0 w 4695230"/>
                <a:gd name="connsiteY0" fmla="*/ 1251181 h 2171067"/>
                <a:gd name="connsiteX1" fmla="*/ 3666524 w 4695230"/>
                <a:gd name="connsiteY1" fmla="*/ 0 h 2171067"/>
                <a:gd name="connsiteX2" fmla="*/ 4695230 w 4695230"/>
                <a:gd name="connsiteY2" fmla="*/ 2171067 h 2171067"/>
                <a:gd name="connsiteX3" fmla="*/ 0 w 4695230"/>
                <a:gd name="connsiteY3" fmla="*/ 1251181 h 2171067"/>
                <a:gd name="connsiteX0" fmla="*/ 0 w 4708878"/>
                <a:gd name="connsiteY0" fmla="*/ 1251181 h 2184715"/>
                <a:gd name="connsiteX1" fmla="*/ 3666524 w 4708878"/>
                <a:gd name="connsiteY1" fmla="*/ 0 h 2184715"/>
                <a:gd name="connsiteX2" fmla="*/ 4708878 w 4708878"/>
                <a:gd name="connsiteY2" fmla="*/ 2184715 h 2184715"/>
                <a:gd name="connsiteX3" fmla="*/ 0 w 4708878"/>
                <a:gd name="connsiteY3" fmla="*/ 1251181 h 2184715"/>
                <a:gd name="connsiteX0" fmla="*/ 0 w 4722526"/>
                <a:gd name="connsiteY0" fmla="*/ 1251181 h 2198363"/>
                <a:gd name="connsiteX1" fmla="*/ 3666524 w 4722526"/>
                <a:gd name="connsiteY1" fmla="*/ 0 h 2198363"/>
                <a:gd name="connsiteX2" fmla="*/ 4722526 w 4722526"/>
                <a:gd name="connsiteY2" fmla="*/ 2198363 h 2198363"/>
                <a:gd name="connsiteX3" fmla="*/ 0 w 4722526"/>
                <a:gd name="connsiteY3" fmla="*/ 1251181 h 2198363"/>
                <a:gd name="connsiteX0" fmla="*/ 0 w 4658916"/>
                <a:gd name="connsiteY0" fmla="*/ 1251181 h 2190411"/>
                <a:gd name="connsiteX1" fmla="*/ 3666524 w 4658916"/>
                <a:gd name="connsiteY1" fmla="*/ 0 h 2190411"/>
                <a:gd name="connsiteX2" fmla="*/ 4658916 w 4658916"/>
                <a:gd name="connsiteY2" fmla="*/ 2190411 h 2190411"/>
                <a:gd name="connsiteX3" fmla="*/ 0 w 4658916"/>
                <a:gd name="connsiteY3" fmla="*/ 1251181 h 2190411"/>
                <a:gd name="connsiteX0" fmla="*/ 0 w 4658916"/>
                <a:gd name="connsiteY0" fmla="*/ 1251181 h 2166557"/>
                <a:gd name="connsiteX1" fmla="*/ 3666524 w 4658916"/>
                <a:gd name="connsiteY1" fmla="*/ 0 h 2166557"/>
                <a:gd name="connsiteX2" fmla="*/ 4658916 w 4658916"/>
                <a:gd name="connsiteY2" fmla="*/ 2166557 h 2166557"/>
                <a:gd name="connsiteX3" fmla="*/ 0 w 4658916"/>
                <a:gd name="connsiteY3" fmla="*/ 1251181 h 2166557"/>
                <a:gd name="connsiteX0" fmla="*/ 0 w 4670136"/>
                <a:gd name="connsiteY0" fmla="*/ 1251181 h 2166557"/>
                <a:gd name="connsiteX1" fmla="*/ 3677744 w 4670136"/>
                <a:gd name="connsiteY1" fmla="*/ 0 h 2166557"/>
                <a:gd name="connsiteX2" fmla="*/ 4670136 w 4670136"/>
                <a:gd name="connsiteY2" fmla="*/ 2166557 h 2166557"/>
                <a:gd name="connsiteX3" fmla="*/ 0 w 4670136"/>
                <a:gd name="connsiteY3" fmla="*/ 1251181 h 2166557"/>
                <a:gd name="connsiteX0" fmla="*/ 0 w 4653306"/>
                <a:gd name="connsiteY0" fmla="*/ 1251181 h 2166557"/>
                <a:gd name="connsiteX1" fmla="*/ 3660914 w 4653306"/>
                <a:gd name="connsiteY1" fmla="*/ 0 h 2166557"/>
                <a:gd name="connsiteX2" fmla="*/ 4653306 w 4653306"/>
                <a:gd name="connsiteY2" fmla="*/ 2166557 h 2166557"/>
                <a:gd name="connsiteX3" fmla="*/ 0 w 4653306"/>
                <a:gd name="connsiteY3" fmla="*/ 1251181 h 2166557"/>
                <a:gd name="connsiteX0" fmla="*/ 0 w 4001299"/>
                <a:gd name="connsiteY0" fmla="*/ 869518 h 2166557"/>
                <a:gd name="connsiteX1" fmla="*/ 3008907 w 4001299"/>
                <a:gd name="connsiteY1" fmla="*/ 0 h 2166557"/>
                <a:gd name="connsiteX2" fmla="*/ 4001299 w 4001299"/>
                <a:gd name="connsiteY2" fmla="*/ 2166557 h 2166557"/>
                <a:gd name="connsiteX3" fmla="*/ 0 w 4001299"/>
                <a:gd name="connsiteY3" fmla="*/ 869518 h 2166557"/>
                <a:gd name="connsiteX0" fmla="*/ 0 w 4645354"/>
                <a:gd name="connsiteY0" fmla="*/ 1251181 h 2166557"/>
                <a:gd name="connsiteX1" fmla="*/ 3652962 w 4645354"/>
                <a:gd name="connsiteY1" fmla="*/ 0 h 2166557"/>
                <a:gd name="connsiteX2" fmla="*/ 4645354 w 4645354"/>
                <a:gd name="connsiteY2" fmla="*/ 2166557 h 2166557"/>
                <a:gd name="connsiteX3" fmla="*/ 0 w 4645354"/>
                <a:gd name="connsiteY3" fmla="*/ 1251181 h 2166557"/>
                <a:gd name="connsiteX0" fmla="*/ 0 w 4645354"/>
                <a:gd name="connsiteY0" fmla="*/ 1243230 h 2166557"/>
                <a:gd name="connsiteX1" fmla="*/ 3652962 w 4645354"/>
                <a:gd name="connsiteY1" fmla="*/ 0 h 2166557"/>
                <a:gd name="connsiteX2" fmla="*/ 4645354 w 4645354"/>
                <a:gd name="connsiteY2" fmla="*/ 2166557 h 2166557"/>
                <a:gd name="connsiteX3" fmla="*/ 0 w 4645354"/>
                <a:gd name="connsiteY3" fmla="*/ 1243230 h 2166557"/>
              </a:gdLst>
              <a:ahLst/>
              <a:cxnLst>
                <a:cxn ang="0">
                  <a:pos x="connsiteX0" y="connsiteY0"/>
                </a:cxn>
                <a:cxn ang="0">
                  <a:pos x="connsiteX1" y="connsiteY1"/>
                </a:cxn>
                <a:cxn ang="0">
                  <a:pos x="connsiteX2" y="connsiteY2"/>
                </a:cxn>
                <a:cxn ang="0">
                  <a:pos x="connsiteX3" y="connsiteY3"/>
                </a:cxn>
              </a:cxnLst>
              <a:rect l="l" t="t" r="r" b="b"/>
              <a:pathLst>
                <a:path w="4645354" h="2166557">
                  <a:moveTo>
                    <a:pt x="0" y="1243230"/>
                  </a:moveTo>
                  <a:lnTo>
                    <a:pt x="3652962" y="0"/>
                  </a:lnTo>
                  <a:lnTo>
                    <a:pt x="4645354" y="2166557"/>
                  </a:lnTo>
                  <a:lnTo>
                    <a:pt x="0" y="1243230"/>
                  </a:lnTo>
                  <a:close/>
                </a:path>
              </a:pathLst>
            </a:custGeom>
            <a:gradFill>
              <a:gsLst>
                <a:gs pos="100000">
                  <a:schemeClr val="accent3"/>
                </a:gs>
                <a:gs pos="46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8" name="Freeform 37"/>
            <p:cNvSpPr/>
            <p:nvPr/>
          </p:nvSpPr>
          <p:spPr>
            <a:xfrm>
              <a:off x="3541852" y="3007895"/>
              <a:ext cx="2834884" cy="2947737"/>
            </a:xfrm>
            <a:custGeom>
              <a:avLst/>
              <a:gdLst>
                <a:gd name="connsiteX0" fmla="*/ 0 w 2791326"/>
                <a:gd name="connsiteY0" fmla="*/ 1816768 h 2947737"/>
                <a:gd name="connsiteX1" fmla="*/ 493294 w 2791326"/>
                <a:gd name="connsiteY1" fmla="*/ 2947737 h 2947737"/>
                <a:gd name="connsiteX2" fmla="*/ 2791326 w 2791326"/>
                <a:gd name="connsiteY2" fmla="*/ 0 h 2947737"/>
                <a:gd name="connsiteX3" fmla="*/ 0 w 2791326"/>
                <a:gd name="connsiteY3" fmla="*/ 1816768 h 2947737"/>
                <a:gd name="connsiteX0" fmla="*/ 0 w 2799638"/>
                <a:gd name="connsiteY0" fmla="*/ 1845863 h 2947737"/>
                <a:gd name="connsiteX1" fmla="*/ 501606 w 2799638"/>
                <a:gd name="connsiteY1" fmla="*/ 2947737 h 2947737"/>
                <a:gd name="connsiteX2" fmla="*/ 2799638 w 2799638"/>
                <a:gd name="connsiteY2" fmla="*/ 0 h 2947737"/>
                <a:gd name="connsiteX3" fmla="*/ 0 w 2799638"/>
                <a:gd name="connsiteY3" fmla="*/ 1845863 h 2947737"/>
                <a:gd name="connsiteX0" fmla="*/ 0 w 2826933"/>
                <a:gd name="connsiteY0" fmla="*/ 1886806 h 2947737"/>
                <a:gd name="connsiteX1" fmla="*/ 528901 w 2826933"/>
                <a:gd name="connsiteY1" fmla="*/ 2947737 h 2947737"/>
                <a:gd name="connsiteX2" fmla="*/ 2826933 w 2826933"/>
                <a:gd name="connsiteY2" fmla="*/ 0 h 2947737"/>
                <a:gd name="connsiteX3" fmla="*/ 0 w 2826933"/>
                <a:gd name="connsiteY3" fmla="*/ 1886806 h 2947737"/>
                <a:gd name="connsiteX0" fmla="*/ 0 w 2826933"/>
                <a:gd name="connsiteY0" fmla="*/ 1859510 h 2947737"/>
                <a:gd name="connsiteX1" fmla="*/ 528901 w 2826933"/>
                <a:gd name="connsiteY1" fmla="*/ 2947737 h 2947737"/>
                <a:gd name="connsiteX2" fmla="*/ 2826933 w 2826933"/>
                <a:gd name="connsiteY2" fmla="*/ 0 h 2947737"/>
                <a:gd name="connsiteX3" fmla="*/ 0 w 2826933"/>
                <a:gd name="connsiteY3" fmla="*/ 1859510 h 2947737"/>
                <a:gd name="connsiteX0" fmla="*/ 0 w 2826933"/>
                <a:gd name="connsiteY0" fmla="*/ 1859510 h 2947737"/>
                <a:gd name="connsiteX1" fmla="*/ 523291 w 2826933"/>
                <a:gd name="connsiteY1" fmla="*/ 2947737 h 2947737"/>
                <a:gd name="connsiteX2" fmla="*/ 2826933 w 2826933"/>
                <a:gd name="connsiteY2" fmla="*/ 0 h 2947737"/>
                <a:gd name="connsiteX3" fmla="*/ 0 w 2826933"/>
                <a:gd name="connsiteY3" fmla="*/ 1859510 h 2947737"/>
                <a:gd name="connsiteX0" fmla="*/ 0 w 2834884"/>
                <a:gd name="connsiteY0" fmla="*/ 1867462 h 2947737"/>
                <a:gd name="connsiteX1" fmla="*/ 531242 w 2834884"/>
                <a:gd name="connsiteY1" fmla="*/ 2947737 h 2947737"/>
                <a:gd name="connsiteX2" fmla="*/ 2834884 w 2834884"/>
                <a:gd name="connsiteY2" fmla="*/ 0 h 2947737"/>
                <a:gd name="connsiteX3" fmla="*/ 0 w 2834884"/>
                <a:gd name="connsiteY3" fmla="*/ 1867462 h 2947737"/>
              </a:gdLst>
              <a:ahLst/>
              <a:cxnLst>
                <a:cxn ang="0">
                  <a:pos x="connsiteX0" y="connsiteY0"/>
                </a:cxn>
                <a:cxn ang="0">
                  <a:pos x="connsiteX1" y="connsiteY1"/>
                </a:cxn>
                <a:cxn ang="0">
                  <a:pos x="connsiteX2" y="connsiteY2"/>
                </a:cxn>
                <a:cxn ang="0">
                  <a:pos x="connsiteX3" y="connsiteY3"/>
                </a:cxn>
              </a:cxnLst>
              <a:rect l="l" t="t" r="r" b="b"/>
              <a:pathLst>
                <a:path w="2834884" h="2947737">
                  <a:moveTo>
                    <a:pt x="0" y="1867462"/>
                  </a:moveTo>
                  <a:lnTo>
                    <a:pt x="531242" y="2947737"/>
                  </a:lnTo>
                  <a:lnTo>
                    <a:pt x="2834884" y="0"/>
                  </a:lnTo>
                  <a:lnTo>
                    <a:pt x="0" y="1867462"/>
                  </a:ln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grpSp>
      <p:sp>
        <p:nvSpPr>
          <p:cNvPr id="2" name="Title 1"/>
          <p:cNvSpPr>
            <a:spLocks noGrp="1"/>
          </p:cNvSpPr>
          <p:nvPr userDrawn="1">
            <p:ph type="title"/>
          </p:nvPr>
        </p:nvSpPr>
        <p:spPr>
          <a:xfrm>
            <a:off x="379413" y="1333500"/>
            <a:ext cx="9521825" cy="4127499"/>
          </a:xfrm>
          <a:noFill/>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40395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1018695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948222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3_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8" name="Rectangle 7"/>
          <p:cNvSpPr/>
          <p:nvPr userDrawn="1"/>
        </p:nvSpPr>
        <p:spPr>
          <a:xfrm>
            <a:off x="0" y="1652428"/>
            <a:ext cx="8210550" cy="1994392"/>
          </a:xfrm>
          <a:prstGeom prst="rect">
            <a:avLst/>
          </a:prstGeom>
          <a:gradFill>
            <a:gsLst>
              <a:gs pos="0">
                <a:srgbClr val="65553C">
                  <a:alpha val="37000"/>
                </a:srgbClr>
              </a:gs>
              <a:gs pos="70000">
                <a:srgbClr val="654E47">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502155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384048"/>
            <a:ext cx="3816000" cy="2930652"/>
          </a:xfrm>
          <a:solidFill>
            <a:schemeClr val="bg1">
              <a:lumMod val="85000"/>
            </a:schemeClr>
          </a:solidFill>
        </p:spPr>
        <p:txBody>
          <a:bodyPr lIns="0" rIns="0"/>
          <a:lstStyle/>
          <a:p>
            <a:r>
              <a:rPr lang="en-US"/>
              <a:t>Click icon to add picture</a:t>
            </a:r>
            <a:endParaRPr lang="en-GB"/>
          </a:p>
        </p:txBody>
      </p:sp>
      <p:sp>
        <p:nvSpPr>
          <p:cNvPr id="13" name="Picture Placeholder 9"/>
          <p:cNvSpPr>
            <a:spLocks noGrp="1"/>
          </p:cNvSpPr>
          <p:nvPr>
            <p:ph type="pic" sz="quarter" idx="16"/>
          </p:nvPr>
        </p:nvSpPr>
        <p:spPr>
          <a:xfrm>
            <a:off x="384048" y="3314646"/>
            <a:ext cx="3816000" cy="2935224"/>
          </a:xfrm>
          <a:solidFill>
            <a:schemeClr val="bg1">
              <a:lumMod val="85000"/>
            </a:schemeClr>
          </a:solidFill>
        </p:spPr>
        <p:txBody>
          <a:bodyPr lIns="0" rIns="0"/>
          <a:lstStyle/>
          <a:p>
            <a:r>
              <a:rPr lang="en-US"/>
              <a:t>Click icon to add picture</a:t>
            </a:r>
            <a:endParaRPr lang="en-GB"/>
          </a:p>
        </p:txBody>
      </p:sp>
      <p:sp>
        <p:nvSpPr>
          <p:cNvPr id="11" name="Picture Placeholder 9"/>
          <p:cNvSpPr>
            <a:spLocks noGrp="1"/>
          </p:cNvSpPr>
          <p:nvPr>
            <p:ph type="pic" sz="quarter" idx="14"/>
          </p:nvPr>
        </p:nvSpPr>
        <p:spPr>
          <a:xfrm>
            <a:off x="4187310" y="384048"/>
            <a:ext cx="3816000" cy="2930652"/>
          </a:xfrm>
          <a:solidFill>
            <a:schemeClr val="bg1">
              <a:lumMod val="85000"/>
            </a:schemeClr>
          </a:solidFill>
        </p:spPr>
        <p:txBody>
          <a:bodyPr lIns="0" rIns="0"/>
          <a:lstStyle/>
          <a:p>
            <a:r>
              <a:rPr lang="en-US"/>
              <a:t>Click icon to add picture</a:t>
            </a:r>
            <a:endParaRPr lang="en-GB"/>
          </a:p>
        </p:txBody>
      </p:sp>
      <p:sp>
        <p:nvSpPr>
          <p:cNvPr id="14" name="Picture Placeholder 9"/>
          <p:cNvSpPr>
            <a:spLocks noGrp="1"/>
          </p:cNvSpPr>
          <p:nvPr>
            <p:ph type="pic" sz="quarter" idx="17"/>
          </p:nvPr>
        </p:nvSpPr>
        <p:spPr>
          <a:xfrm>
            <a:off x="4187310" y="3314646"/>
            <a:ext cx="3816000" cy="2938462"/>
          </a:xfrm>
          <a:solidFill>
            <a:schemeClr val="bg1">
              <a:lumMod val="85000"/>
            </a:schemeClr>
          </a:solidFill>
        </p:spPr>
        <p:txBody>
          <a:bodyPr lIns="0" rIns="0"/>
          <a:lstStyle/>
          <a:p>
            <a:r>
              <a:rPr lang="en-US"/>
              <a:t>Click icon to add picture</a:t>
            </a:r>
            <a:endParaRPr lang="en-GB"/>
          </a:p>
        </p:txBody>
      </p:sp>
      <p:sp>
        <p:nvSpPr>
          <p:cNvPr id="12" name="Picture Placeholder 9"/>
          <p:cNvSpPr>
            <a:spLocks noGrp="1"/>
          </p:cNvSpPr>
          <p:nvPr>
            <p:ph type="pic" sz="quarter" idx="15"/>
          </p:nvPr>
        </p:nvSpPr>
        <p:spPr>
          <a:xfrm>
            <a:off x="8001000" y="384048"/>
            <a:ext cx="3816000" cy="2930652"/>
          </a:xfrm>
          <a:solidFill>
            <a:schemeClr val="bg1">
              <a:lumMod val="85000"/>
            </a:schemeClr>
          </a:solidFill>
        </p:spPr>
        <p:txBody>
          <a:bodyPr lIns="0" rIns="0"/>
          <a:lstStyle/>
          <a:p>
            <a:r>
              <a:rPr lang="en-US"/>
              <a:t>Click icon to add picture</a:t>
            </a:r>
            <a:endParaRPr lang="en-GB"/>
          </a:p>
        </p:txBody>
      </p:sp>
      <p:sp>
        <p:nvSpPr>
          <p:cNvPr id="15" name="Picture Placeholder 9"/>
          <p:cNvSpPr>
            <a:spLocks noGrp="1"/>
          </p:cNvSpPr>
          <p:nvPr>
            <p:ph type="pic" sz="quarter" idx="18"/>
          </p:nvPr>
        </p:nvSpPr>
        <p:spPr>
          <a:xfrm>
            <a:off x="8001000" y="3314646"/>
            <a:ext cx="3816000" cy="2938462"/>
          </a:xfrm>
          <a:solidFill>
            <a:schemeClr val="bg1">
              <a:lumMod val="85000"/>
            </a:schemeClr>
          </a:solidFill>
        </p:spPr>
        <p:txBody>
          <a:bodyPr lIns="0" rIns="0"/>
          <a:lstStyle/>
          <a:p>
            <a:r>
              <a:rPr lang="en-US"/>
              <a:t>Click icon to add picture</a:t>
            </a:r>
            <a:endParaRPr lang="en-GB"/>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31 October 2018</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58909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5" name="Rectangle 4"/>
          <p:cNvSpPr/>
          <p:nvPr userDrawn="1"/>
        </p:nvSpPr>
        <p:spPr>
          <a:xfrm>
            <a:off x="0" y="1500850"/>
            <a:ext cx="8210550" cy="2145970"/>
          </a:xfrm>
          <a:prstGeom prst="rect">
            <a:avLst/>
          </a:prstGeom>
          <a:gradFill>
            <a:gsLst>
              <a:gs pos="0">
                <a:srgbClr val="629324">
                  <a:alpha val="66000"/>
                </a:srgbClr>
              </a:gs>
              <a:gs pos="70000">
                <a:srgbClr val="68942C">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108612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2_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6487762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4_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Rectangle 8"/>
          <p:cNvSpPr/>
          <p:nvPr userDrawn="1"/>
        </p:nvSpPr>
        <p:spPr>
          <a:xfrm>
            <a:off x="0" y="1652428"/>
            <a:ext cx="8210550" cy="1994392"/>
          </a:xfrm>
          <a:prstGeom prst="rect">
            <a:avLst/>
          </a:prstGeom>
          <a:gradFill>
            <a:gsLst>
              <a:gs pos="0">
                <a:srgbClr val="03060D">
                  <a:alpha val="34000"/>
                </a:srgbClr>
              </a:gs>
              <a:gs pos="70000">
                <a:srgbClr val="68696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defTabSz="914400" rtl="0" eaLnBrk="1" latinLnBrk="0" hangingPunct="1">
              <a:lnSpc>
                <a:spcPct val="80000"/>
              </a:lnSpc>
              <a:spcBef>
                <a:spcPct val="0"/>
              </a:spcBef>
              <a:buNone/>
              <a:defRPr lang="en-GB" sz="7200" b="0" kern="1200" dirty="0">
                <a:solidFill>
                  <a:schemeClr val="bg1"/>
                </a:solidFill>
                <a:effectLst>
                  <a:outerShdw blurRad="50800" dist="38100" dir="5400000" algn="t" rotWithShape="0">
                    <a:prstClr val="black">
                      <a:alpha val="40000"/>
                    </a:prstClr>
                  </a:outerShdw>
                </a:effectLst>
                <a:latin typeface="3M Circular TT Bold" panose="020B0804020101010102" pitchFamily="34" charset="0"/>
                <a:ea typeface="+mj-ea"/>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858008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ver_1 line_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a:t>One-line title</a:t>
            </a:r>
            <a:endParaRPr lang="en-GB" dirty="0"/>
          </a:p>
        </p:txBody>
      </p:sp>
      <p:sp>
        <p:nvSpPr>
          <p:cNvPr id="10" name="Text Placeholder 7"/>
          <p:cNvSpPr>
            <a:spLocks noGrp="1"/>
          </p:cNvSpPr>
          <p:nvPr>
            <p:ph type="body" sz="quarter" idx="12" hasCustomPrompt="1"/>
          </p:nvPr>
        </p:nvSpPr>
        <p:spPr>
          <a:xfrm>
            <a:off x="384048" y="4257741"/>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837665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userDrawn="1">
  <p:cSld name="Title Slide and Subtitle">
    <p:spTree>
      <p:nvGrpSpPr>
        <p:cNvPr id="1" name=""/>
        <p:cNvGrpSpPr/>
        <p:nvPr/>
      </p:nvGrpSpPr>
      <p:grpSpPr>
        <a:xfrm>
          <a:off x="0" y="0"/>
          <a:ext cx="0" cy="0"/>
          <a:chOff x="0" y="0"/>
          <a:chExt cx="0" cy="0"/>
        </a:xfrm>
      </p:grpSpPr>
      <p:sp>
        <p:nvSpPr>
          <p:cNvPr id="43" name="Freeform 37"/>
          <p:cNvSpPr>
            <a:spLocks/>
          </p:cNvSpPr>
          <p:nvPr userDrawn="1"/>
        </p:nvSpPr>
        <p:spPr bwMode="auto">
          <a:xfrm rot="19218002">
            <a:off x="582337" y="2537728"/>
            <a:ext cx="10928210" cy="6096374"/>
          </a:xfrm>
          <a:custGeom>
            <a:avLst/>
            <a:gdLst>
              <a:gd name="T0" fmla="*/ 3982 w 4136"/>
              <a:gd name="T1" fmla="*/ 0 h 2304"/>
              <a:gd name="T2" fmla="*/ 4136 w 4136"/>
              <a:gd name="T3" fmla="*/ 2304 h 2304"/>
              <a:gd name="T4" fmla="*/ 0 w 4136"/>
              <a:gd name="T5" fmla="*/ 77 h 2304"/>
              <a:gd name="T6" fmla="*/ 3982 w 4136"/>
              <a:gd name="T7" fmla="*/ 0 h 2304"/>
              <a:gd name="connsiteX0" fmla="*/ 9628 w 9990"/>
              <a:gd name="connsiteY0" fmla="*/ 0 h 10197"/>
              <a:gd name="connsiteX1" fmla="*/ 9990 w 9990"/>
              <a:gd name="connsiteY1" fmla="*/ 10197 h 10197"/>
              <a:gd name="connsiteX2" fmla="*/ 0 w 9990"/>
              <a:gd name="connsiteY2" fmla="*/ 334 h 10197"/>
              <a:gd name="connsiteX3" fmla="*/ 9628 w 9990"/>
              <a:gd name="connsiteY3" fmla="*/ 0 h 10197"/>
              <a:gd name="connsiteX0" fmla="*/ 9649 w 10000"/>
              <a:gd name="connsiteY0" fmla="*/ 0 h 10005"/>
              <a:gd name="connsiteX1" fmla="*/ 10000 w 10000"/>
              <a:gd name="connsiteY1" fmla="*/ 10005 h 10005"/>
              <a:gd name="connsiteX2" fmla="*/ 0 w 10000"/>
              <a:gd name="connsiteY2" fmla="*/ 333 h 10005"/>
              <a:gd name="connsiteX3" fmla="*/ 9649 w 10000"/>
              <a:gd name="connsiteY3" fmla="*/ 0 h 10005"/>
              <a:gd name="connsiteX0" fmla="*/ 9598 w 9949"/>
              <a:gd name="connsiteY0" fmla="*/ 0 h 10005"/>
              <a:gd name="connsiteX1" fmla="*/ 9949 w 9949"/>
              <a:gd name="connsiteY1" fmla="*/ 10005 h 10005"/>
              <a:gd name="connsiteX2" fmla="*/ 1 w 9949"/>
              <a:gd name="connsiteY2" fmla="*/ 263 h 10005"/>
              <a:gd name="connsiteX3" fmla="*/ 9598 w 9949"/>
              <a:gd name="connsiteY3" fmla="*/ 0 h 10005"/>
              <a:gd name="connsiteX0" fmla="*/ 9647 w 10000"/>
              <a:gd name="connsiteY0" fmla="*/ 0 h 10000"/>
              <a:gd name="connsiteX1" fmla="*/ 10000 w 10000"/>
              <a:gd name="connsiteY1" fmla="*/ 10000 h 10000"/>
              <a:gd name="connsiteX2" fmla="*/ 1 w 10000"/>
              <a:gd name="connsiteY2" fmla="*/ 263 h 10000"/>
              <a:gd name="connsiteX3" fmla="*/ 9647 w 10000"/>
              <a:gd name="connsiteY3" fmla="*/ 0 h 10000"/>
              <a:gd name="connsiteX0" fmla="*/ 9646 w 9999"/>
              <a:gd name="connsiteY0" fmla="*/ 0 h 10000"/>
              <a:gd name="connsiteX1" fmla="*/ 9999 w 9999"/>
              <a:gd name="connsiteY1" fmla="*/ 10000 h 10000"/>
              <a:gd name="connsiteX2" fmla="*/ 0 w 9999"/>
              <a:gd name="connsiteY2" fmla="*/ 263 h 10000"/>
              <a:gd name="connsiteX3" fmla="*/ 9646 w 9999"/>
              <a:gd name="connsiteY3" fmla="*/ 0 h 10000"/>
              <a:gd name="connsiteX0" fmla="*/ 9647 w 10000"/>
              <a:gd name="connsiteY0" fmla="*/ 0 h 10000"/>
              <a:gd name="connsiteX1" fmla="*/ 10000 w 10000"/>
              <a:gd name="connsiteY1" fmla="*/ 10000 h 10000"/>
              <a:gd name="connsiteX2" fmla="*/ 0 w 10000"/>
              <a:gd name="connsiteY2" fmla="*/ 263 h 10000"/>
              <a:gd name="connsiteX3" fmla="*/ 9647 w 10000"/>
              <a:gd name="connsiteY3" fmla="*/ 0 h 10000"/>
              <a:gd name="connsiteX0" fmla="*/ 9647 w 10000"/>
              <a:gd name="connsiteY0" fmla="*/ 0 h 10000"/>
              <a:gd name="connsiteX1" fmla="*/ 10000 w 10000"/>
              <a:gd name="connsiteY1" fmla="*/ 10000 h 10000"/>
              <a:gd name="connsiteX2" fmla="*/ 0 w 10000"/>
              <a:gd name="connsiteY2" fmla="*/ 263 h 10000"/>
              <a:gd name="connsiteX3" fmla="*/ 9647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9647" y="0"/>
                </a:moveTo>
                <a:cubicBezTo>
                  <a:pt x="9645" y="-3"/>
                  <a:pt x="10000" y="10000"/>
                  <a:pt x="10000" y="10000"/>
                </a:cubicBezTo>
                <a:cubicBezTo>
                  <a:pt x="9999" y="9998"/>
                  <a:pt x="0" y="263"/>
                  <a:pt x="0" y="263"/>
                </a:cubicBezTo>
                <a:lnTo>
                  <a:pt x="9647" y="0"/>
                </a:lnTo>
                <a:close/>
              </a:path>
            </a:pathLst>
          </a:custGeom>
          <a:gradFill flip="none" rotWithShape="1">
            <a:gsLst>
              <a:gs pos="0">
                <a:schemeClr val="accent3"/>
              </a:gs>
              <a:gs pos="50000">
                <a:schemeClr val="accent2"/>
              </a:gs>
              <a:gs pos="100000">
                <a:schemeClr val="accent1"/>
              </a:gs>
            </a:gsLst>
            <a:lin ang="0" scaled="1"/>
            <a:tileRect/>
          </a:gradFill>
          <a:ln>
            <a:noFill/>
          </a:ln>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2" name="Title 1"/>
          <p:cNvSpPr>
            <a:spLocks noGrp="1"/>
          </p:cNvSpPr>
          <p:nvPr>
            <p:ph type="ctrTitle" hasCustomPrompt="1"/>
          </p:nvPr>
        </p:nvSpPr>
        <p:spPr>
          <a:xfrm>
            <a:off x="379413" y="2321901"/>
            <a:ext cx="9521825" cy="1033548"/>
          </a:xfrm>
        </p:spPr>
        <p:txBody>
          <a:bodyPr vert="horz" wrap="square" lIns="0" tIns="0" rIns="0" bIns="0" anchor="t" anchorCtr="0">
            <a:noAutofit/>
          </a:bodyPr>
          <a:lstStyle>
            <a:lvl1pPr algn="l">
              <a:defRPr sz="7200"/>
            </a:lvl1pPr>
          </a:lstStyle>
          <a:p>
            <a:r>
              <a:rPr lang="en-US" dirty="0"/>
              <a:t>Master title style</a:t>
            </a:r>
            <a:endParaRPr lang="en-GB" dirty="0"/>
          </a:p>
        </p:txBody>
      </p:sp>
      <p:grpSp>
        <p:nvGrpSpPr>
          <p:cNvPr id="41" name="Group 40"/>
          <p:cNvGrpSpPr/>
          <p:nvPr userDrawn="1"/>
        </p:nvGrpSpPr>
        <p:grpSpPr>
          <a:xfrm>
            <a:off x="391318" y="384100"/>
            <a:ext cx="2361407" cy="427748"/>
            <a:chOff x="593725" y="633413"/>
            <a:chExt cx="13435013" cy="2433637"/>
          </a:xfrm>
        </p:grpSpPr>
        <p:sp>
          <p:nvSpPr>
            <p:cNvPr id="16" name="Freeform 9"/>
            <p:cNvSpPr>
              <a:spLocks/>
            </p:cNvSpPr>
            <p:nvPr userDrawn="1"/>
          </p:nvSpPr>
          <p:spPr bwMode="auto">
            <a:xfrm>
              <a:off x="5505450" y="695325"/>
              <a:ext cx="614363" cy="866775"/>
            </a:xfrm>
            <a:custGeom>
              <a:avLst/>
              <a:gdLst>
                <a:gd name="T0" fmla="*/ 31 w 41"/>
                <a:gd name="T1" fmla="*/ 17 h 57"/>
                <a:gd name="T2" fmla="*/ 21 w 41"/>
                <a:gd name="T3" fmla="*/ 9 h 57"/>
                <a:gd name="T4" fmla="*/ 12 w 41"/>
                <a:gd name="T5" fmla="*/ 16 h 57"/>
                <a:gd name="T6" fmla="*/ 18 w 41"/>
                <a:gd name="T7" fmla="*/ 23 h 57"/>
                <a:gd name="T8" fmla="*/ 26 w 41"/>
                <a:gd name="T9" fmla="*/ 24 h 57"/>
                <a:gd name="T10" fmla="*/ 41 w 41"/>
                <a:gd name="T11" fmla="*/ 40 h 57"/>
                <a:gd name="T12" fmla="*/ 22 w 41"/>
                <a:gd name="T13" fmla="*/ 57 h 57"/>
                <a:gd name="T14" fmla="*/ 0 w 41"/>
                <a:gd name="T15" fmla="*/ 40 h 57"/>
                <a:gd name="T16" fmla="*/ 10 w 41"/>
                <a:gd name="T17" fmla="*/ 37 h 57"/>
                <a:gd name="T18" fmla="*/ 22 w 41"/>
                <a:gd name="T19" fmla="*/ 48 h 57"/>
                <a:gd name="T20" fmla="*/ 31 w 41"/>
                <a:gd name="T21" fmla="*/ 41 h 57"/>
                <a:gd name="T22" fmla="*/ 24 w 41"/>
                <a:gd name="T23" fmla="*/ 34 h 57"/>
                <a:gd name="T24" fmla="*/ 16 w 41"/>
                <a:gd name="T25" fmla="*/ 33 h 57"/>
                <a:gd name="T26" fmla="*/ 2 w 41"/>
                <a:gd name="T27" fmla="*/ 17 h 57"/>
                <a:gd name="T28" fmla="*/ 21 w 41"/>
                <a:gd name="T29" fmla="*/ 0 h 57"/>
                <a:gd name="T30" fmla="*/ 41 w 41"/>
                <a:gd name="T31" fmla="*/ 14 h 57"/>
                <a:gd name="T32" fmla="*/ 31 w 41"/>
                <a:gd name="T33" fmla="*/ 1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1" h="57">
                  <a:moveTo>
                    <a:pt x="31" y="17"/>
                  </a:moveTo>
                  <a:cubicBezTo>
                    <a:pt x="30" y="14"/>
                    <a:pt x="28" y="9"/>
                    <a:pt x="21" y="9"/>
                  </a:cubicBezTo>
                  <a:cubicBezTo>
                    <a:pt x="16" y="9"/>
                    <a:pt x="12" y="13"/>
                    <a:pt x="12" y="16"/>
                  </a:cubicBezTo>
                  <a:cubicBezTo>
                    <a:pt x="12" y="19"/>
                    <a:pt x="14" y="22"/>
                    <a:pt x="18" y="23"/>
                  </a:cubicBezTo>
                  <a:cubicBezTo>
                    <a:pt x="26" y="24"/>
                    <a:pt x="26" y="24"/>
                    <a:pt x="26" y="24"/>
                  </a:cubicBezTo>
                  <a:cubicBezTo>
                    <a:pt x="36" y="26"/>
                    <a:pt x="41" y="33"/>
                    <a:pt x="41" y="40"/>
                  </a:cubicBezTo>
                  <a:cubicBezTo>
                    <a:pt x="41" y="49"/>
                    <a:pt x="34" y="57"/>
                    <a:pt x="22" y="57"/>
                  </a:cubicBezTo>
                  <a:cubicBezTo>
                    <a:pt x="7" y="57"/>
                    <a:pt x="1" y="48"/>
                    <a:pt x="0" y="40"/>
                  </a:cubicBezTo>
                  <a:cubicBezTo>
                    <a:pt x="10" y="37"/>
                    <a:pt x="10" y="37"/>
                    <a:pt x="10" y="37"/>
                  </a:cubicBezTo>
                  <a:cubicBezTo>
                    <a:pt x="10" y="43"/>
                    <a:pt x="14" y="48"/>
                    <a:pt x="22" y="48"/>
                  </a:cubicBezTo>
                  <a:cubicBezTo>
                    <a:pt x="27" y="48"/>
                    <a:pt x="31" y="45"/>
                    <a:pt x="31" y="41"/>
                  </a:cubicBezTo>
                  <a:cubicBezTo>
                    <a:pt x="31" y="38"/>
                    <a:pt x="28" y="35"/>
                    <a:pt x="24" y="34"/>
                  </a:cubicBezTo>
                  <a:cubicBezTo>
                    <a:pt x="16" y="33"/>
                    <a:pt x="16" y="33"/>
                    <a:pt x="16" y="33"/>
                  </a:cubicBezTo>
                  <a:cubicBezTo>
                    <a:pt x="7" y="31"/>
                    <a:pt x="2" y="25"/>
                    <a:pt x="2" y="17"/>
                  </a:cubicBezTo>
                  <a:cubicBezTo>
                    <a:pt x="2" y="7"/>
                    <a:pt x="11" y="0"/>
                    <a:pt x="21" y="0"/>
                  </a:cubicBezTo>
                  <a:cubicBezTo>
                    <a:pt x="34" y="0"/>
                    <a:pt x="39" y="8"/>
                    <a:pt x="41" y="14"/>
                  </a:cubicBezTo>
                  <a:lnTo>
                    <a:pt x="31" y="1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17" name="Freeform 10"/>
            <p:cNvSpPr>
              <a:spLocks/>
            </p:cNvSpPr>
            <p:nvPr userDrawn="1"/>
          </p:nvSpPr>
          <p:spPr bwMode="auto">
            <a:xfrm>
              <a:off x="6194425" y="952500"/>
              <a:ext cx="569913" cy="609600"/>
            </a:xfrm>
            <a:custGeom>
              <a:avLst/>
              <a:gdLst>
                <a:gd name="T0" fmla="*/ 10 w 38"/>
                <a:gd name="T1" fmla="*/ 20 h 40"/>
                <a:gd name="T2" fmla="*/ 20 w 38"/>
                <a:gd name="T3" fmla="*/ 31 h 40"/>
                <a:gd name="T4" fmla="*/ 29 w 38"/>
                <a:gd name="T5" fmla="*/ 24 h 40"/>
                <a:gd name="T6" fmla="*/ 38 w 38"/>
                <a:gd name="T7" fmla="*/ 27 h 40"/>
                <a:gd name="T8" fmla="*/ 20 w 38"/>
                <a:gd name="T9" fmla="*/ 40 h 40"/>
                <a:gd name="T10" fmla="*/ 0 w 38"/>
                <a:gd name="T11" fmla="*/ 20 h 40"/>
                <a:gd name="T12" fmla="*/ 20 w 38"/>
                <a:gd name="T13" fmla="*/ 0 h 40"/>
                <a:gd name="T14" fmla="*/ 38 w 38"/>
                <a:gd name="T15" fmla="*/ 13 h 40"/>
                <a:gd name="T16" fmla="*/ 28 w 38"/>
                <a:gd name="T17" fmla="*/ 16 h 40"/>
                <a:gd name="T18" fmla="*/ 20 w 38"/>
                <a:gd name="T19" fmla="*/ 9 h 40"/>
                <a:gd name="T20" fmla="*/ 10 w 38"/>
                <a:gd name="T2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0">
                  <a:moveTo>
                    <a:pt x="10" y="20"/>
                  </a:moveTo>
                  <a:cubicBezTo>
                    <a:pt x="10" y="27"/>
                    <a:pt x="15" y="31"/>
                    <a:pt x="20" y="31"/>
                  </a:cubicBezTo>
                  <a:cubicBezTo>
                    <a:pt x="25" y="31"/>
                    <a:pt x="28" y="27"/>
                    <a:pt x="29" y="24"/>
                  </a:cubicBezTo>
                  <a:cubicBezTo>
                    <a:pt x="38" y="27"/>
                    <a:pt x="38" y="27"/>
                    <a:pt x="38" y="27"/>
                  </a:cubicBezTo>
                  <a:cubicBezTo>
                    <a:pt x="36" y="34"/>
                    <a:pt x="30" y="40"/>
                    <a:pt x="20" y="40"/>
                  </a:cubicBezTo>
                  <a:cubicBezTo>
                    <a:pt x="9" y="40"/>
                    <a:pt x="0" y="32"/>
                    <a:pt x="0" y="20"/>
                  </a:cubicBezTo>
                  <a:cubicBezTo>
                    <a:pt x="0" y="8"/>
                    <a:pt x="9" y="0"/>
                    <a:pt x="20" y="0"/>
                  </a:cubicBezTo>
                  <a:cubicBezTo>
                    <a:pt x="30" y="0"/>
                    <a:pt x="36" y="6"/>
                    <a:pt x="38" y="13"/>
                  </a:cubicBezTo>
                  <a:cubicBezTo>
                    <a:pt x="28" y="16"/>
                    <a:pt x="28" y="16"/>
                    <a:pt x="28" y="16"/>
                  </a:cubicBezTo>
                  <a:cubicBezTo>
                    <a:pt x="28" y="13"/>
                    <a:pt x="25" y="9"/>
                    <a:pt x="20" y="9"/>
                  </a:cubicBezTo>
                  <a:cubicBezTo>
                    <a:pt x="15" y="9"/>
                    <a:pt x="10" y="13"/>
                    <a:pt x="1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18" name="Freeform 11"/>
            <p:cNvSpPr>
              <a:spLocks noEditPoints="1"/>
            </p:cNvSpPr>
            <p:nvPr userDrawn="1"/>
          </p:nvSpPr>
          <p:spPr bwMode="auto">
            <a:xfrm>
              <a:off x="6854825" y="679450"/>
              <a:ext cx="179388" cy="866775"/>
            </a:xfrm>
            <a:custGeom>
              <a:avLst/>
              <a:gdLst>
                <a:gd name="T0" fmla="*/ 1 w 12"/>
                <a:gd name="T1" fmla="*/ 19 h 57"/>
                <a:gd name="T2" fmla="*/ 11 w 12"/>
                <a:gd name="T3" fmla="*/ 19 h 57"/>
                <a:gd name="T4" fmla="*/ 11 w 12"/>
                <a:gd name="T5" fmla="*/ 57 h 57"/>
                <a:gd name="T6" fmla="*/ 1 w 12"/>
                <a:gd name="T7" fmla="*/ 57 h 57"/>
                <a:gd name="T8" fmla="*/ 1 w 12"/>
                <a:gd name="T9" fmla="*/ 19 h 57"/>
                <a:gd name="T10" fmla="*/ 6 w 12"/>
                <a:gd name="T11" fmla="*/ 0 h 57"/>
                <a:gd name="T12" fmla="*/ 12 w 12"/>
                <a:gd name="T13" fmla="*/ 6 h 57"/>
                <a:gd name="T14" fmla="*/ 6 w 12"/>
                <a:gd name="T15" fmla="*/ 13 h 57"/>
                <a:gd name="T16" fmla="*/ 0 w 12"/>
                <a:gd name="T17" fmla="*/ 6 h 57"/>
                <a:gd name="T18" fmla="*/ 6 w 12"/>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57">
                  <a:moveTo>
                    <a:pt x="1" y="19"/>
                  </a:moveTo>
                  <a:cubicBezTo>
                    <a:pt x="11" y="19"/>
                    <a:pt x="11" y="19"/>
                    <a:pt x="11" y="19"/>
                  </a:cubicBezTo>
                  <a:cubicBezTo>
                    <a:pt x="11" y="57"/>
                    <a:pt x="11" y="57"/>
                    <a:pt x="11" y="57"/>
                  </a:cubicBezTo>
                  <a:cubicBezTo>
                    <a:pt x="1" y="57"/>
                    <a:pt x="1" y="57"/>
                    <a:pt x="1" y="57"/>
                  </a:cubicBezTo>
                  <a:lnTo>
                    <a:pt x="1" y="19"/>
                  </a:lnTo>
                  <a:close/>
                  <a:moveTo>
                    <a:pt x="6" y="0"/>
                  </a:moveTo>
                  <a:cubicBezTo>
                    <a:pt x="9" y="0"/>
                    <a:pt x="12" y="3"/>
                    <a:pt x="12" y="6"/>
                  </a:cubicBezTo>
                  <a:cubicBezTo>
                    <a:pt x="12" y="10"/>
                    <a:pt x="9" y="13"/>
                    <a:pt x="6" y="13"/>
                  </a:cubicBezTo>
                  <a:cubicBezTo>
                    <a:pt x="2" y="13"/>
                    <a:pt x="0" y="10"/>
                    <a:pt x="0" y="6"/>
                  </a:cubicBezTo>
                  <a:cubicBezTo>
                    <a:pt x="0" y="3"/>
                    <a:pt x="2" y="0"/>
                    <a:pt x="6"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19" name="Freeform 12"/>
            <p:cNvSpPr>
              <a:spLocks noEditPoints="1"/>
            </p:cNvSpPr>
            <p:nvPr userDrawn="1"/>
          </p:nvSpPr>
          <p:spPr bwMode="auto">
            <a:xfrm>
              <a:off x="7138988" y="952500"/>
              <a:ext cx="554038" cy="609600"/>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20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1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20" y="40"/>
                  </a:cubicBezTo>
                  <a:cubicBezTo>
                    <a:pt x="9" y="40"/>
                    <a:pt x="0" y="33"/>
                    <a:pt x="0" y="20"/>
                  </a:cubicBezTo>
                  <a:cubicBezTo>
                    <a:pt x="0" y="8"/>
                    <a:pt x="9" y="0"/>
                    <a:pt x="19" y="0"/>
                  </a:cubicBezTo>
                  <a:cubicBezTo>
                    <a:pt x="30" y="0"/>
                    <a:pt x="37" y="7"/>
                    <a:pt x="37" y="20"/>
                  </a:cubicBezTo>
                  <a:cubicBezTo>
                    <a:pt x="37" y="21"/>
                    <a:pt x="37" y="23"/>
                    <a:pt x="37" y="23"/>
                  </a:cubicBezTo>
                  <a:cubicBezTo>
                    <a:pt x="10" y="23"/>
                    <a:pt x="10" y="23"/>
                    <a:pt x="10" y="23"/>
                  </a:cubicBezTo>
                  <a:cubicBezTo>
                    <a:pt x="10" y="28"/>
                    <a:pt x="14" y="31"/>
                    <a:pt x="20" y="31"/>
                  </a:cubicBezTo>
                  <a:cubicBezTo>
                    <a:pt x="24" y="31"/>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20" name="Freeform 13"/>
            <p:cNvSpPr>
              <a:spLocks/>
            </p:cNvSpPr>
            <p:nvPr userDrawn="1"/>
          </p:nvSpPr>
          <p:spPr bwMode="auto">
            <a:xfrm>
              <a:off x="7812088" y="952500"/>
              <a:ext cx="509588" cy="593725"/>
            </a:xfrm>
            <a:custGeom>
              <a:avLst/>
              <a:gdLst>
                <a:gd name="T0" fmla="*/ 10 w 34"/>
                <a:gd name="T1" fmla="*/ 39 h 39"/>
                <a:gd name="T2" fmla="*/ 0 w 34"/>
                <a:gd name="T3" fmla="*/ 39 h 39"/>
                <a:gd name="T4" fmla="*/ 0 w 34"/>
                <a:gd name="T5" fmla="*/ 1 h 39"/>
                <a:gd name="T6" fmla="*/ 10 w 34"/>
                <a:gd name="T7" fmla="*/ 1 h 39"/>
                <a:gd name="T8" fmla="*/ 10 w 34"/>
                <a:gd name="T9" fmla="*/ 6 h 39"/>
                <a:gd name="T10" fmla="*/ 21 w 34"/>
                <a:gd name="T11" fmla="*/ 0 h 39"/>
                <a:gd name="T12" fmla="*/ 34 w 34"/>
                <a:gd name="T13" fmla="*/ 15 h 39"/>
                <a:gd name="T14" fmla="*/ 34 w 34"/>
                <a:gd name="T15" fmla="*/ 39 h 39"/>
                <a:gd name="T16" fmla="*/ 24 w 34"/>
                <a:gd name="T17" fmla="*/ 39 h 39"/>
                <a:gd name="T18" fmla="*/ 24 w 34"/>
                <a:gd name="T19" fmla="*/ 17 h 39"/>
                <a:gd name="T20" fmla="*/ 17 w 34"/>
                <a:gd name="T21" fmla="*/ 9 h 39"/>
                <a:gd name="T22" fmla="*/ 10 w 34"/>
                <a:gd name="T23" fmla="*/ 17 h 39"/>
                <a:gd name="T24" fmla="*/ 10 w 34"/>
                <a:gd name="T2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9">
                  <a:moveTo>
                    <a:pt x="10" y="39"/>
                  </a:moveTo>
                  <a:cubicBezTo>
                    <a:pt x="0" y="39"/>
                    <a:pt x="0" y="39"/>
                    <a:pt x="0" y="39"/>
                  </a:cubicBezTo>
                  <a:cubicBezTo>
                    <a:pt x="0" y="1"/>
                    <a:pt x="0" y="1"/>
                    <a:pt x="0" y="1"/>
                  </a:cubicBezTo>
                  <a:cubicBezTo>
                    <a:pt x="10" y="1"/>
                    <a:pt x="10" y="1"/>
                    <a:pt x="10" y="1"/>
                  </a:cubicBezTo>
                  <a:cubicBezTo>
                    <a:pt x="10" y="6"/>
                    <a:pt x="10" y="6"/>
                    <a:pt x="10" y="6"/>
                  </a:cubicBezTo>
                  <a:cubicBezTo>
                    <a:pt x="12" y="2"/>
                    <a:pt x="17" y="0"/>
                    <a:pt x="21" y="0"/>
                  </a:cubicBezTo>
                  <a:cubicBezTo>
                    <a:pt x="30" y="0"/>
                    <a:pt x="34" y="7"/>
                    <a:pt x="34" y="15"/>
                  </a:cubicBezTo>
                  <a:cubicBezTo>
                    <a:pt x="34" y="39"/>
                    <a:pt x="34" y="39"/>
                    <a:pt x="34" y="39"/>
                  </a:cubicBezTo>
                  <a:cubicBezTo>
                    <a:pt x="24" y="39"/>
                    <a:pt x="24" y="39"/>
                    <a:pt x="24" y="39"/>
                  </a:cubicBezTo>
                  <a:cubicBezTo>
                    <a:pt x="24" y="17"/>
                    <a:pt x="24" y="17"/>
                    <a:pt x="24" y="17"/>
                  </a:cubicBezTo>
                  <a:cubicBezTo>
                    <a:pt x="24" y="13"/>
                    <a:pt x="22" y="9"/>
                    <a:pt x="17" y="9"/>
                  </a:cubicBezTo>
                  <a:cubicBezTo>
                    <a:pt x="13" y="9"/>
                    <a:pt x="10" y="13"/>
                    <a:pt x="10" y="17"/>
                  </a:cubicBezTo>
                  <a:lnTo>
                    <a:pt x="10" y="3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21" name="Freeform 14"/>
            <p:cNvSpPr>
              <a:spLocks/>
            </p:cNvSpPr>
            <p:nvPr userDrawn="1"/>
          </p:nvSpPr>
          <p:spPr bwMode="auto">
            <a:xfrm>
              <a:off x="8426450" y="952500"/>
              <a:ext cx="569913" cy="609600"/>
            </a:xfrm>
            <a:custGeom>
              <a:avLst/>
              <a:gdLst>
                <a:gd name="T0" fmla="*/ 10 w 38"/>
                <a:gd name="T1" fmla="*/ 20 h 40"/>
                <a:gd name="T2" fmla="*/ 20 w 38"/>
                <a:gd name="T3" fmla="*/ 31 h 40"/>
                <a:gd name="T4" fmla="*/ 29 w 38"/>
                <a:gd name="T5" fmla="*/ 24 h 40"/>
                <a:gd name="T6" fmla="*/ 38 w 38"/>
                <a:gd name="T7" fmla="*/ 27 h 40"/>
                <a:gd name="T8" fmla="*/ 20 w 38"/>
                <a:gd name="T9" fmla="*/ 40 h 40"/>
                <a:gd name="T10" fmla="*/ 0 w 38"/>
                <a:gd name="T11" fmla="*/ 20 h 40"/>
                <a:gd name="T12" fmla="*/ 20 w 38"/>
                <a:gd name="T13" fmla="*/ 0 h 40"/>
                <a:gd name="T14" fmla="*/ 38 w 38"/>
                <a:gd name="T15" fmla="*/ 13 h 40"/>
                <a:gd name="T16" fmla="*/ 28 w 38"/>
                <a:gd name="T17" fmla="*/ 16 h 40"/>
                <a:gd name="T18" fmla="*/ 20 w 38"/>
                <a:gd name="T19" fmla="*/ 9 h 40"/>
                <a:gd name="T20" fmla="*/ 10 w 38"/>
                <a:gd name="T21"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40">
                  <a:moveTo>
                    <a:pt x="10" y="20"/>
                  </a:moveTo>
                  <a:cubicBezTo>
                    <a:pt x="10" y="27"/>
                    <a:pt x="15" y="31"/>
                    <a:pt x="20" y="31"/>
                  </a:cubicBezTo>
                  <a:cubicBezTo>
                    <a:pt x="25" y="31"/>
                    <a:pt x="28" y="27"/>
                    <a:pt x="29" y="24"/>
                  </a:cubicBezTo>
                  <a:cubicBezTo>
                    <a:pt x="38" y="27"/>
                    <a:pt x="38" y="27"/>
                    <a:pt x="38" y="27"/>
                  </a:cubicBezTo>
                  <a:cubicBezTo>
                    <a:pt x="36" y="34"/>
                    <a:pt x="30" y="40"/>
                    <a:pt x="20" y="40"/>
                  </a:cubicBezTo>
                  <a:cubicBezTo>
                    <a:pt x="9" y="40"/>
                    <a:pt x="0" y="32"/>
                    <a:pt x="0" y="20"/>
                  </a:cubicBezTo>
                  <a:cubicBezTo>
                    <a:pt x="0" y="8"/>
                    <a:pt x="9" y="0"/>
                    <a:pt x="20" y="0"/>
                  </a:cubicBezTo>
                  <a:cubicBezTo>
                    <a:pt x="30" y="0"/>
                    <a:pt x="36" y="6"/>
                    <a:pt x="38" y="13"/>
                  </a:cubicBezTo>
                  <a:cubicBezTo>
                    <a:pt x="28" y="16"/>
                    <a:pt x="28" y="16"/>
                    <a:pt x="28" y="16"/>
                  </a:cubicBezTo>
                  <a:cubicBezTo>
                    <a:pt x="27" y="13"/>
                    <a:pt x="25" y="9"/>
                    <a:pt x="20" y="9"/>
                  </a:cubicBezTo>
                  <a:cubicBezTo>
                    <a:pt x="15" y="9"/>
                    <a:pt x="10" y="13"/>
                    <a:pt x="1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22" name="Freeform 15"/>
            <p:cNvSpPr>
              <a:spLocks noEditPoints="1"/>
            </p:cNvSpPr>
            <p:nvPr userDrawn="1"/>
          </p:nvSpPr>
          <p:spPr bwMode="auto">
            <a:xfrm>
              <a:off x="9055100" y="952500"/>
              <a:ext cx="555625" cy="609600"/>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19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1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19" y="40"/>
                  </a:cubicBezTo>
                  <a:cubicBezTo>
                    <a:pt x="9" y="40"/>
                    <a:pt x="0" y="33"/>
                    <a:pt x="0" y="20"/>
                  </a:cubicBezTo>
                  <a:cubicBezTo>
                    <a:pt x="0" y="8"/>
                    <a:pt x="9" y="0"/>
                    <a:pt x="19" y="0"/>
                  </a:cubicBezTo>
                  <a:cubicBezTo>
                    <a:pt x="30" y="0"/>
                    <a:pt x="37" y="7"/>
                    <a:pt x="37" y="20"/>
                  </a:cubicBezTo>
                  <a:cubicBezTo>
                    <a:pt x="37" y="21"/>
                    <a:pt x="37" y="23"/>
                    <a:pt x="37" y="23"/>
                  </a:cubicBezTo>
                  <a:cubicBezTo>
                    <a:pt x="10" y="23"/>
                    <a:pt x="10" y="23"/>
                    <a:pt x="10" y="23"/>
                  </a:cubicBezTo>
                  <a:cubicBezTo>
                    <a:pt x="10" y="28"/>
                    <a:pt x="14" y="31"/>
                    <a:pt x="20" y="31"/>
                  </a:cubicBezTo>
                  <a:cubicBezTo>
                    <a:pt x="24" y="31"/>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23" name="Oval 16"/>
            <p:cNvSpPr>
              <a:spLocks noChangeArrowheads="1"/>
            </p:cNvSpPr>
            <p:nvPr userDrawn="1"/>
          </p:nvSpPr>
          <p:spPr bwMode="auto">
            <a:xfrm>
              <a:off x="9715500" y="1333500"/>
              <a:ext cx="209550" cy="228600"/>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24" name="Freeform 17"/>
            <p:cNvSpPr>
              <a:spLocks noEditPoints="1"/>
            </p:cNvSpPr>
            <p:nvPr userDrawn="1"/>
          </p:nvSpPr>
          <p:spPr bwMode="auto">
            <a:xfrm>
              <a:off x="5476875" y="2001838"/>
              <a:ext cx="808038" cy="836612"/>
            </a:xfrm>
            <a:custGeom>
              <a:avLst/>
              <a:gdLst>
                <a:gd name="T0" fmla="*/ 188 w 509"/>
                <a:gd name="T1" fmla="*/ 317 h 527"/>
                <a:gd name="T2" fmla="*/ 330 w 509"/>
                <a:gd name="T3" fmla="*/ 317 h 527"/>
                <a:gd name="T4" fmla="*/ 254 w 509"/>
                <a:gd name="T5" fmla="*/ 115 h 527"/>
                <a:gd name="T6" fmla="*/ 188 w 509"/>
                <a:gd name="T7" fmla="*/ 317 h 527"/>
                <a:gd name="T8" fmla="*/ 358 w 509"/>
                <a:gd name="T9" fmla="*/ 412 h 527"/>
                <a:gd name="T10" fmla="*/ 151 w 509"/>
                <a:gd name="T11" fmla="*/ 412 h 527"/>
                <a:gd name="T12" fmla="*/ 103 w 509"/>
                <a:gd name="T13" fmla="*/ 527 h 527"/>
                <a:gd name="T14" fmla="*/ 0 w 509"/>
                <a:gd name="T15" fmla="*/ 527 h 527"/>
                <a:gd name="T16" fmla="*/ 198 w 509"/>
                <a:gd name="T17" fmla="*/ 0 h 527"/>
                <a:gd name="T18" fmla="*/ 320 w 509"/>
                <a:gd name="T19" fmla="*/ 0 h 527"/>
                <a:gd name="T20" fmla="*/ 509 w 509"/>
                <a:gd name="T21" fmla="*/ 527 h 527"/>
                <a:gd name="T22" fmla="*/ 405 w 509"/>
                <a:gd name="T23" fmla="*/ 527 h 527"/>
                <a:gd name="T24" fmla="*/ 358 w 509"/>
                <a:gd name="T25" fmla="*/ 412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9" h="527">
                  <a:moveTo>
                    <a:pt x="188" y="317"/>
                  </a:moveTo>
                  <a:lnTo>
                    <a:pt x="330" y="317"/>
                  </a:lnTo>
                  <a:lnTo>
                    <a:pt x="254" y="115"/>
                  </a:lnTo>
                  <a:lnTo>
                    <a:pt x="188" y="317"/>
                  </a:lnTo>
                  <a:close/>
                  <a:moveTo>
                    <a:pt x="358" y="412"/>
                  </a:moveTo>
                  <a:lnTo>
                    <a:pt x="151" y="412"/>
                  </a:lnTo>
                  <a:lnTo>
                    <a:pt x="103" y="527"/>
                  </a:lnTo>
                  <a:lnTo>
                    <a:pt x="0" y="527"/>
                  </a:lnTo>
                  <a:lnTo>
                    <a:pt x="198" y="0"/>
                  </a:lnTo>
                  <a:lnTo>
                    <a:pt x="320" y="0"/>
                  </a:lnTo>
                  <a:lnTo>
                    <a:pt x="509" y="527"/>
                  </a:lnTo>
                  <a:lnTo>
                    <a:pt x="405" y="527"/>
                  </a:lnTo>
                  <a:lnTo>
                    <a:pt x="358" y="41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25" name="Freeform 18"/>
            <p:cNvSpPr>
              <a:spLocks noEditPoints="1"/>
            </p:cNvSpPr>
            <p:nvPr userDrawn="1"/>
          </p:nvSpPr>
          <p:spPr bwMode="auto">
            <a:xfrm>
              <a:off x="6375400" y="2246313"/>
              <a:ext cx="584200" cy="820737"/>
            </a:xfrm>
            <a:custGeom>
              <a:avLst/>
              <a:gdLst>
                <a:gd name="T0" fmla="*/ 20 w 39"/>
                <a:gd name="T1" fmla="*/ 10 h 54"/>
                <a:gd name="T2" fmla="*/ 10 w 39"/>
                <a:gd name="T3" fmla="*/ 20 h 54"/>
                <a:gd name="T4" fmla="*/ 20 w 39"/>
                <a:gd name="T5" fmla="*/ 31 h 54"/>
                <a:gd name="T6" fmla="*/ 29 w 39"/>
                <a:gd name="T7" fmla="*/ 20 h 54"/>
                <a:gd name="T8" fmla="*/ 20 w 39"/>
                <a:gd name="T9" fmla="*/ 10 h 54"/>
                <a:gd name="T10" fmla="*/ 0 w 39"/>
                <a:gd name="T11" fmla="*/ 54 h 54"/>
                <a:gd name="T12" fmla="*/ 0 w 39"/>
                <a:gd name="T13" fmla="*/ 1 h 54"/>
                <a:gd name="T14" fmla="*/ 10 w 39"/>
                <a:gd name="T15" fmla="*/ 1 h 54"/>
                <a:gd name="T16" fmla="*/ 10 w 39"/>
                <a:gd name="T17" fmla="*/ 6 h 54"/>
                <a:gd name="T18" fmla="*/ 22 w 39"/>
                <a:gd name="T19" fmla="*/ 0 h 54"/>
                <a:gd name="T20" fmla="*/ 39 w 39"/>
                <a:gd name="T21" fmla="*/ 20 h 54"/>
                <a:gd name="T22" fmla="*/ 22 w 39"/>
                <a:gd name="T23" fmla="*/ 40 h 54"/>
                <a:gd name="T24" fmla="*/ 11 w 39"/>
                <a:gd name="T25" fmla="*/ 36 h 54"/>
                <a:gd name="T26" fmla="*/ 11 w 39"/>
                <a:gd name="T27" fmla="*/ 54 h 54"/>
                <a:gd name="T28" fmla="*/ 0 w 39"/>
                <a:gd name="T2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54">
                  <a:moveTo>
                    <a:pt x="20" y="10"/>
                  </a:moveTo>
                  <a:cubicBezTo>
                    <a:pt x="15" y="10"/>
                    <a:pt x="10" y="14"/>
                    <a:pt x="10" y="20"/>
                  </a:cubicBezTo>
                  <a:cubicBezTo>
                    <a:pt x="10" y="27"/>
                    <a:pt x="15" y="31"/>
                    <a:pt x="20" y="31"/>
                  </a:cubicBezTo>
                  <a:cubicBezTo>
                    <a:pt x="25" y="31"/>
                    <a:pt x="29" y="27"/>
                    <a:pt x="29" y="20"/>
                  </a:cubicBezTo>
                  <a:cubicBezTo>
                    <a:pt x="29" y="14"/>
                    <a:pt x="25" y="10"/>
                    <a:pt x="20" y="10"/>
                  </a:cubicBezTo>
                  <a:moveTo>
                    <a:pt x="0" y="54"/>
                  </a:moveTo>
                  <a:cubicBezTo>
                    <a:pt x="0" y="1"/>
                    <a:pt x="0" y="1"/>
                    <a:pt x="0" y="1"/>
                  </a:cubicBezTo>
                  <a:cubicBezTo>
                    <a:pt x="10" y="1"/>
                    <a:pt x="10" y="1"/>
                    <a:pt x="10" y="1"/>
                  </a:cubicBezTo>
                  <a:cubicBezTo>
                    <a:pt x="10" y="6"/>
                    <a:pt x="10" y="6"/>
                    <a:pt x="10" y="6"/>
                  </a:cubicBezTo>
                  <a:cubicBezTo>
                    <a:pt x="12" y="3"/>
                    <a:pt x="16" y="0"/>
                    <a:pt x="22" y="0"/>
                  </a:cubicBezTo>
                  <a:cubicBezTo>
                    <a:pt x="33" y="0"/>
                    <a:pt x="39" y="9"/>
                    <a:pt x="39" y="20"/>
                  </a:cubicBezTo>
                  <a:cubicBezTo>
                    <a:pt x="39" y="32"/>
                    <a:pt x="32" y="40"/>
                    <a:pt x="22" y="40"/>
                  </a:cubicBezTo>
                  <a:cubicBezTo>
                    <a:pt x="16" y="40"/>
                    <a:pt x="12" y="38"/>
                    <a:pt x="11" y="36"/>
                  </a:cubicBezTo>
                  <a:cubicBezTo>
                    <a:pt x="11" y="54"/>
                    <a:pt x="11" y="54"/>
                    <a:pt x="11" y="54"/>
                  </a:cubicBez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26" name="Freeform 19"/>
            <p:cNvSpPr>
              <a:spLocks noEditPoints="1"/>
            </p:cNvSpPr>
            <p:nvPr userDrawn="1"/>
          </p:nvSpPr>
          <p:spPr bwMode="auto">
            <a:xfrm>
              <a:off x="7064375" y="2246313"/>
              <a:ext cx="598488" cy="820737"/>
            </a:xfrm>
            <a:custGeom>
              <a:avLst/>
              <a:gdLst>
                <a:gd name="T0" fmla="*/ 20 w 40"/>
                <a:gd name="T1" fmla="*/ 10 h 54"/>
                <a:gd name="T2" fmla="*/ 10 w 40"/>
                <a:gd name="T3" fmla="*/ 20 h 54"/>
                <a:gd name="T4" fmla="*/ 20 w 40"/>
                <a:gd name="T5" fmla="*/ 31 h 54"/>
                <a:gd name="T6" fmla="*/ 29 w 40"/>
                <a:gd name="T7" fmla="*/ 20 h 54"/>
                <a:gd name="T8" fmla="*/ 20 w 40"/>
                <a:gd name="T9" fmla="*/ 10 h 54"/>
                <a:gd name="T10" fmla="*/ 0 w 40"/>
                <a:gd name="T11" fmla="*/ 54 h 54"/>
                <a:gd name="T12" fmla="*/ 0 w 40"/>
                <a:gd name="T13" fmla="*/ 1 h 54"/>
                <a:gd name="T14" fmla="*/ 10 w 40"/>
                <a:gd name="T15" fmla="*/ 1 h 54"/>
                <a:gd name="T16" fmla="*/ 10 w 40"/>
                <a:gd name="T17" fmla="*/ 6 h 54"/>
                <a:gd name="T18" fmla="*/ 22 w 40"/>
                <a:gd name="T19" fmla="*/ 0 h 54"/>
                <a:gd name="T20" fmla="*/ 40 w 40"/>
                <a:gd name="T21" fmla="*/ 20 h 54"/>
                <a:gd name="T22" fmla="*/ 22 w 40"/>
                <a:gd name="T23" fmla="*/ 40 h 54"/>
                <a:gd name="T24" fmla="*/ 11 w 40"/>
                <a:gd name="T25" fmla="*/ 36 h 54"/>
                <a:gd name="T26" fmla="*/ 11 w 40"/>
                <a:gd name="T27" fmla="*/ 54 h 54"/>
                <a:gd name="T28" fmla="*/ 0 w 40"/>
                <a:gd name="T29"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54">
                  <a:moveTo>
                    <a:pt x="20" y="10"/>
                  </a:moveTo>
                  <a:cubicBezTo>
                    <a:pt x="15" y="10"/>
                    <a:pt x="10" y="14"/>
                    <a:pt x="10" y="20"/>
                  </a:cubicBezTo>
                  <a:cubicBezTo>
                    <a:pt x="10" y="27"/>
                    <a:pt x="15" y="31"/>
                    <a:pt x="20" y="31"/>
                  </a:cubicBezTo>
                  <a:cubicBezTo>
                    <a:pt x="25" y="31"/>
                    <a:pt x="29" y="27"/>
                    <a:pt x="29" y="20"/>
                  </a:cubicBezTo>
                  <a:cubicBezTo>
                    <a:pt x="29" y="14"/>
                    <a:pt x="25" y="10"/>
                    <a:pt x="20" y="10"/>
                  </a:cubicBezTo>
                  <a:moveTo>
                    <a:pt x="0" y="54"/>
                  </a:moveTo>
                  <a:cubicBezTo>
                    <a:pt x="0" y="1"/>
                    <a:pt x="0" y="1"/>
                    <a:pt x="0" y="1"/>
                  </a:cubicBezTo>
                  <a:cubicBezTo>
                    <a:pt x="10" y="1"/>
                    <a:pt x="10" y="1"/>
                    <a:pt x="10" y="1"/>
                  </a:cubicBezTo>
                  <a:cubicBezTo>
                    <a:pt x="10" y="6"/>
                    <a:pt x="10" y="6"/>
                    <a:pt x="10" y="6"/>
                  </a:cubicBezTo>
                  <a:cubicBezTo>
                    <a:pt x="12" y="3"/>
                    <a:pt x="16" y="0"/>
                    <a:pt x="22" y="0"/>
                  </a:cubicBezTo>
                  <a:cubicBezTo>
                    <a:pt x="33" y="0"/>
                    <a:pt x="40" y="9"/>
                    <a:pt x="40" y="20"/>
                  </a:cubicBezTo>
                  <a:cubicBezTo>
                    <a:pt x="40" y="32"/>
                    <a:pt x="32" y="40"/>
                    <a:pt x="22" y="40"/>
                  </a:cubicBezTo>
                  <a:cubicBezTo>
                    <a:pt x="16" y="40"/>
                    <a:pt x="12" y="38"/>
                    <a:pt x="11" y="36"/>
                  </a:cubicBezTo>
                  <a:cubicBezTo>
                    <a:pt x="11" y="54"/>
                    <a:pt x="11" y="54"/>
                    <a:pt x="11" y="54"/>
                  </a:cubicBezTo>
                  <a:lnTo>
                    <a:pt x="0" y="5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27" name="Rectangle 20"/>
            <p:cNvSpPr>
              <a:spLocks noChangeArrowheads="1"/>
            </p:cNvSpPr>
            <p:nvPr userDrawn="1"/>
          </p:nvSpPr>
          <p:spPr bwMode="auto">
            <a:xfrm>
              <a:off x="7767638" y="1987550"/>
              <a:ext cx="149225" cy="8509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28" name="Freeform 21"/>
            <p:cNvSpPr>
              <a:spLocks noEditPoints="1"/>
            </p:cNvSpPr>
            <p:nvPr userDrawn="1"/>
          </p:nvSpPr>
          <p:spPr bwMode="auto">
            <a:xfrm>
              <a:off x="8051800" y="1971675"/>
              <a:ext cx="195263" cy="866775"/>
            </a:xfrm>
            <a:custGeom>
              <a:avLst/>
              <a:gdLst>
                <a:gd name="T0" fmla="*/ 1 w 13"/>
                <a:gd name="T1" fmla="*/ 19 h 57"/>
                <a:gd name="T2" fmla="*/ 12 w 13"/>
                <a:gd name="T3" fmla="*/ 19 h 57"/>
                <a:gd name="T4" fmla="*/ 12 w 13"/>
                <a:gd name="T5" fmla="*/ 57 h 57"/>
                <a:gd name="T6" fmla="*/ 1 w 13"/>
                <a:gd name="T7" fmla="*/ 57 h 57"/>
                <a:gd name="T8" fmla="*/ 1 w 13"/>
                <a:gd name="T9" fmla="*/ 19 h 57"/>
                <a:gd name="T10" fmla="*/ 7 w 13"/>
                <a:gd name="T11" fmla="*/ 0 h 57"/>
                <a:gd name="T12" fmla="*/ 13 w 13"/>
                <a:gd name="T13" fmla="*/ 7 h 57"/>
                <a:gd name="T14" fmla="*/ 7 w 13"/>
                <a:gd name="T15" fmla="*/ 13 h 57"/>
                <a:gd name="T16" fmla="*/ 0 w 13"/>
                <a:gd name="T17" fmla="*/ 7 h 57"/>
                <a:gd name="T18" fmla="*/ 7 w 13"/>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7">
                  <a:moveTo>
                    <a:pt x="1" y="19"/>
                  </a:moveTo>
                  <a:cubicBezTo>
                    <a:pt x="12" y="19"/>
                    <a:pt x="12" y="19"/>
                    <a:pt x="12" y="19"/>
                  </a:cubicBezTo>
                  <a:cubicBezTo>
                    <a:pt x="12" y="57"/>
                    <a:pt x="12" y="57"/>
                    <a:pt x="12" y="57"/>
                  </a:cubicBezTo>
                  <a:cubicBezTo>
                    <a:pt x="1" y="57"/>
                    <a:pt x="1" y="57"/>
                    <a:pt x="1" y="57"/>
                  </a:cubicBezTo>
                  <a:lnTo>
                    <a:pt x="1" y="19"/>
                  </a:lnTo>
                  <a:close/>
                  <a:moveTo>
                    <a:pt x="7" y="0"/>
                  </a:moveTo>
                  <a:cubicBezTo>
                    <a:pt x="10" y="0"/>
                    <a:pt x="13" y="3"/>
                    <a:pt x="13" y="7"/>
                  </a:cubicBezTo>
                  <a:cubicBezTo>
                    <a:pt x="13" y="10"/>
                    <a:pt x="10" y="13"/>
                    <a:pt x="7" y="13"/>
                  </a:cubicBezTo>
                  <a:cubicBezTo>
                    <a:pt x="3" y="13"/>
                    <a:pt x="0" y="10"/>
                    <a:pt x="0" y="7"/>
                  </a:cubicBezTo>
                  <a:cubicBezTo>
                    <a:pt x="0" y="3"/>
                    <a:pt x="3" y="0"/>
                    <a:pt x="7"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29" name="Freeform 22"/>
            <p:cNvSpPr>
              <a:spLocks noEditPoints="1"/>
            </p:cNvSpPr>
            <p:nvPr userDrawn="1"/>
          </p:nvSpPr>
          <p:spPr bwMode="auto">
            <a:xfrm>
              <a:off x="8351838" y="2246313"/>
              <a:ext cx="554038" cy="608012"/>
            </a:xfrm>
            <a:custGeom>
              <a:avLst/>
              <a:gdLst>
                <a:gd name="T0" fmla="*/ 27 w 37"/>
                <a:gd name="T1" fmla="*/ 16 h 40"/>
                <a:gd name="T2" fmla="*/ 19 w 37"/>
                <a:gd name="T3" fmla="*/ 8 h 40"/>
                <a:gd name="T4" fmla="*/ 10 w 37"/>
                <a:gd name="T5" fmla="*/ 16 h 40"/>
                <a:gd name="T6" fmla="*/ 27 w 37"/>
                <a:gd name="T7" fmla="*/ 16 h 40"/>
                <a:gd name="T8" fmla="*/ 37 w 37"/>
                <a:gd name="T9" fmla="*/ 28 h 40"/>
                <a:gd name="T10" fmla="*/ 19 w 37"/>
                <a:gd name="T11" fmla="*/ 40 h 40"/>
                <a:gd name="T12" fmla="*/ 0 w 37"/>
                <a:gd name="T13" fmla="*/ 20 h 40"/>
                <a:gd name="T14" fmla="*/ 19 w 37"/>
                <a:gd name="T15" fmla="*/ 0 h 40"/>
                <a:gd name="T16" fmla="*/ 37 w 37"/>
                <a:gd name="T17" fmla="*/ 20 h 40"/>
                <a:gd name="T18" fmla="*/ 37 w 37"/>
                <a:gd name="T19" fmla="*/ 23 h 40"/>
                <a:gd name="T20" fmla="*/ 10 w 37"/>
                <a:gd name="T21" fmla="*/ 23 h 40"/>
                <a:gd name="T22" fmla="*/ 20 w 37"/>
                <a:gd name="T23" fmla="*/ 32 h 40"/>
                <a:gd name="T24" fmla="*/ 28 w 37"/>
                <a:gd name="T25" fmla="*/ 26 h 40"/>
                <a:gd name="T26" fmla="*/ 37 w 37"/>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27" y="16"/>
                  </a:moveTo>
                  <a:cubicBezTo>
                    <a:pt x="27" y="12"/>
                    <a:pt x="25" y="8"/>
                    <a:pt x="19" y="8"/>
                  </a:cubicBezTo>
                  <a:cubicBezTo>
                    <a:pt x="13" y="8"/>
                    <a:pt x="10" y="12"/>
                    <a:pt x="10" y="16"/>
                  </a:cubicBezTo>
                  <a:lnTo>
                    <a:pt x="27" y="16"/>
                  </a:lnTo>
                  <a:close/>
                  <a:moveTo>
                    <a:pt x="37" y="28"/>
                  </a:moveTo>
                  <a:cubicBezTo>
                    <a:pt x="35" y="35"/>
                    <a:pt x="29" y="40"/>
                    <a:pt x="19" y="40"/>
                  </a:cubicBezTo>
                  <a:cubicBezTo>
                    <a:pt x="9" y="40"/>
                    <a:pt x="0" y="33"/>
                    <a:pt x="0" y="20"/>
                  </a:cubicBezTo>
                  <a:cubicBezTo>
                    <a:pt x="0" y="8"/>
                    <a:pt x="9" y="0"/>
                    <a:pt x="19" y="0"/>
                  </a:cubicBezTo>
                  <a:cubicBezTo>
                    <a:pt x="30" y="0"/>
                    <a:pt x="37" y="8"/>
                    <a:pt x="37" y="20"/>
                  </a:cubicBezTo>
                  <a:cubicBezTo>
                    <a:pt x="37" y="21"/>
                    <a:pt x="37" y="23"/>
                    <a:pt x="37" y="23"/>
                  </a:cubicBezTo>
                  <a:cubicBezTo>
                    <a:pt x="10" y="23"/>
                    <a:pt x="10" y="23"/>
                    <a:pt x="10" y="23"/>
                  </a:cubicBezTo>
                  <a:cubicBezTo>
                    <a:pt x="10" y="28"/>
                    <a:pt x="14" y="32"/>
                    <a:pt x="20" y="32"/>
                  </a:cubicBezTo>
                  <a:cubicBezTo>
                    <a:pt x="24" y="32"/>
                    <a:pt x="27" y="29"/>
                    <a:pt x="28"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30" name="Freeform 23"/>
            <p:cNvSpPr>
              <a:spLocks noEditPoints="1"/>
            </p:cNvSpPr>
            <p:nvPr userDrawn="1"/>
          </p:nvSpPr>
          <p:spPr bwMode="auto">
            <a:xfrm>
              <a:off x="8980488" y="1987550"/>
              <a:ext cx="600075" cy="866775"/>
            </a:xfrm>
            <a:custGeom>
              <a:avLst/>
              <a:gdLst>
                <a:gd name="T0" fmla="*/ 20 w 40"/>
                <a:gd name="T1" fmla="*/ 48 h 57"/>
                <a:gd name="T2" fmla="*/ 30 w 40"/>
                <a:gd name="T3" fmla="*/ 37 h 57"/>
                <a:gd name="T4" fmla="*/ 20 w 40"/>
                <a:gd name="T5" fmla="*/ 26 h 57"/>
                <a:gd name="T6" fmla="*/ 11 w 40"/>
                <a:gd name="T7" fmla="*/ 37 h 57"/>
                <a:gd name="T8" fmla="*/ 20 w 40"/>
                <a:gd name="T9" fmla="*/ 48 h 57"/>
                <a:gd name="T10" fmla="*/ 40 w 40"/>
                <a:gd name="T11" fmla="*/ 49 h 57"/>
                <a:gd name="T12" fmla="*/ 40 w 40"/>
                <a:gd name="T13" fmla="*/ 56 h 57"/>
                <a:gd name="T14" fmla="*/ 30 w 40"/>
                <a:gd name="T15" fmla="*/ 56 h 57"/>
                <a:gd name="T16" fmla="*/ 30 w 40"/>
                <a:gd name="T17" fmla="*/ 52 h 57"/>
                <a:gd name="T18" fmla="*/ 19 w 40"/>
                <a:gd name="T19" fmla="*/ 57 h 57"/>
                <a:gd name="T20" fmla="*/ 0 w 40"/>
                <a:gd name="T21" fmla="*/ 37 h 57"/>
                <a:gd name="T22" fmla="*/ 19 w 40"/>
                <a:gd name="T23" fmla="*/ 17 h 57"/>
                <a:gd name="T24" fmla="*/ 30 w 40"/>
                <a:gd name="T25" fmla="*/ 22 h 57"/>
                <a:gd name="T26" fmla="*/ 30 w 40"/>
                <a:gd name="T27" fmla="*/ 0 h 57"/>
                <a:gd name="T28" fmla="*/ 40 w 40"/>
                <a:gd name="T29" fmla="*/ 0 h 57"/>
                <a:gd name="T30" fmla="*/ 40 w 40"/>
                <a:gd name="T31" fmla="*/ 49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57">
                  <a:moveTo>
                    <a:pt x="20" y="48"/>
                  </a:moveTo>
                  <a:cubicBezTo>
                    <a:pt x="26" y="48"/>
                    <a:pt x="30" y="44"/>
                    <a:pt x="30" y="37"/>
                  </a:cubicBezTo>
                  <a:cubicBezTo>
                    <a:pt x="30" y="30"/>
                    <a:pt x="26" y="26"/>
                    <a:pt x="20" y="26"/>
                  </a:cubicBezTo>
                  <a:cubicBezTo>
                    <a:pt x="15" y="26"/>
                    <a:pt x="11" y="30"/>
                    <a:pt x="11" y="37"/>
                  </a:cubicBezTo>
                  <a:cubicBezTo>
                    <a:pt x="11" y="44"/>
                    <a:pt x="15" y="48"/>
                    <a:pt x="20" y="48"/>
                  </a:cubicBezTo>
                  <a:moveTo>
                    <a:pt x="40" y="49"/>
                  </a:moveTo>
                  <a:cubicBezTo>
                    <a:pt x="40" y="52"/>
                    <a:pt x="40" y="55"/>
                    <a:pt x="40" y="56"/>
                  </a:cubicBezTo>
                  <a:cubicBezTo>
                    <a:pt x="30" y="56"/>
                    <a:pt x="30" y="56"/>
                    <a:pt x="30" y="56"/>
                  </a:cubicBezTo>
                  <a:cubicBezTo>
                    <a:pt x="30" y="56"/>
                    <a:pt x="30" y="54"/>
                    <a:pt x="30" y="52"/>
                  </a:cubicBezTo>
                  <a:cubicBezTo>
                    <a:pt x="28" y="55"/>
                    <a:pt x="24" y="57"/>
                    <a:pt x="19" y="57"/>
                  </a:cubicBezTo>
                  <a:cubicBezTo>
                    <a:pt x="8" y="57"/>
                    <a:pt x="0" y="49"/>
                    <a:pt x="0" y="37"/>
                  </a:cubicBezTo>
                  <a:cubicBezTo>
                    <a:pt x="0" y="26"/>
                    <a:pt x="8" y="17"/>
                    <a:pt x="19" y="17"/>
                  </a:cubicBezTo>
                  <a:cubicBezTo>
                    <a:pt x="25" y="17"/>
                    <a:pt x="28" y="20"/>
                    <a:pt x="30" y="22"/>
                  </a:cubicBezTo>
                  <a:cubicBezTo>
                    <a:pt x="30" y="0"/>
                    <a:pt x="30" y="0"/>
                    <a:pt x="30" y="0"/>
                  </a:cubicBezTo>
                  <a:cubicBezTo>
                    <a:pt x="40" y="0"/>
                    <a:pt x="40" y="0"/>
                    <a:pt x="40" y="0"/>
                  </a:cubicBezTo>
                  <a:lnTo>
                    <a:pt x="40" y="4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31" name="Freeform 24"/>
            <p:cNvSpPr>
              <a:spLocks/>
            </p:cNvSpPr>
            <p:nvPr userDrawn="1"/>
          </p:nvSpPr>
          <p:spPr bwMode="auto">
            <a:xfrm>
              <a:off x="9925050" y="2093913"/>
              <a:ext cx="374650" cy="760412"/>
            </a:xfrm>
            <a:custGeom>
              <a:avLst/>
              <a:gdLst>
                <a:gd name="T0" fmla="*/ 17 w 25"/>
                <a:gd name="T1" fmla="*/ 11 h 50"/>
                <a:gd name="T2" fmla="*/ 25 w 25"/>
                <a:gd name="T3" fmla="*/ 11 h 50"/>
                <a:gd name="T4" fmla="*/ 25 w 25"/>
                <a:gd name="T5" fmla="*/ 20 h 50"/>
                <a:gd name="T6" fmla="*/ 17 w 25"/>
                <a:gd name="T7" fmla="*/ 20 h 50"/>
                <a:gd name="T8" fmla="*/ 17 w 25"/>
                <a:gd name="T9" fmla="*/ 36 h 50"/>
                <a:gd name="T10" fmla="*/ 22 w 25"/>
                <a:gd name="T11" fmla="*/ 41 h 50"/>
                <a:gd name="T12" fmla="*/ 25 w 25"/>
                <a:gd name="T13" fmla="*/ 40 h 50"/>
                <a:gd name="T14" fmla="*/ 25 w 25"/>
                <a:gd name="T15" fmla="*/ 49 h 50"/>
                <a:gd name="T16" fmla="*/ 19 w 25"/>
                <a:gd name="T17" fmla="*/ 50 h 50"/>
                <a:gd name="T18" fmla="*/ 7 w 25"/>
                <a:gd name="T19" fmla="*/ 38 h 50"/>
                <a:gd name="T20" fmla="*/ 7 w 25"/>
                <a:gd name="T21" fmla="*/ 20 h 50"/>
                <a:gd name="T22" fmla="*/ 0 w 25"/>
                <a:gd name="T23" fmla="*/ 20 h 50"/>
                <a:gd name="T24" fmla="*/ 0 w 25"/>
                <a:gd name="T25" fmla="*/ 11 h 50"/>
                <a:gd name="T26" fmla="*/ 2 w 25"/>
                <a:gd name="T27" fmla="*/ 11 h 50"/>
                <a:gd name="T28" fmla="*/ 8 w 25"/>
                <a:gd name="T29" fmla="*/ 5 h 50"/>
                <a:gd name="T30" fmla="*/ 8 w 25"/>
                <a:gd name="T31" fmla="*/ 0 h 50"/>
                <a:gd name="T32" fmla="*/ 17 w 25"/>
                <a:gd name="T33" fmla="*/ 0 h 50"/>
                <a:gd name="T34" fmla="*/ 17 w 25"/>
                <a:gd name="T35" fmla="*/ 1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 h="50">
                  <a:moveTo>
                    <a:pt x="17" y="11"/>
                  </a:moveTo>
                  <a:cubicBezTo>
                    <a:pt x="25" y="11"/>
                    <a:pt x="25" y="11"/>
                    <a:pt x="25" y="11"/>
                  </a:cubicBezTo>
                  <a:cubicBezTo>
                    <a:pt x="25" y="20"/>
                    <a:pt x="25" y="20"/>
                    <a:pt x="25" y="20"/>
                  </a:cubicBezTo>
                  <a:cubicBezTo>
                    <a:pt x="17" y="20"/>
                    <a:pt x="17" y="20"/>
                    <a:pt x="17" y="20"/>
                  </a:cubicBezTo>
                  <a:cubicBezTo>
                    <a:pt x="17" y="36"/>
                    <a:pt x="17" y="36"/>
                    <a:pt x="17" y="36"/>
                  </a:cubicBezTo>
                  <a:cubicBezTo>
                    <a:pt x="17" y="40"/>
                    <a:pt x="19" y="41"/>
                    <a:pt x="22" y="41"/>
                  </a:cubicBezTo>
                  <a:cubicBezTo>
                    <a:pt x="23" y="41"/>
                    <a:pt x="24" y="41"/>
                    <a:pt x="25" y="40"/>
                  </a:cubicBezTo>
                  <a:cubicBezTo>
                    <a:pt x="25" y="49"/>
                    <a:pt x="25" y="49"/>
                    <a:pt x="25" y="49"/>
                  </a:cubicBezTo>
                  <a:cubicBezTo>
                    <a:pt x="24" y="49"/>
                    <a:pt x="22" y="50"/>
                    <a:pt x="19" y="50"/>
                  </a:cubicBezTo>
                  <a:cubicBezTo>
                    <a:pt x="12" y="50"/>
                    <a:pt x="7" y="45"/>
                    <a:pt x="7" y="38"/>
                  </a:cubicBezTo>
                  <a:cubicBezTo>
                    <a:pt x="7" y="20"/>
                    <a:pt x="7" y="20"/>
                    <a:pt x="7" y="20"/>
                  </a:cubicBezTo>
                  <a:cubicBezTo>
                    <a:pt x="0" y="20"/>
                    <a:pt x="0" y="20"/>
                    <a:pt x="0" y="20"/>
                  </a:cubicBezTo>
                  <a:cubicBezTo>
                    <a:pt x="0" y="11"/>
                    <a:pt x="0" y="11"/>
                    <a:pt x="0" y="11"/>
                  </a:cubicBezTo>
                  <a:cubicBezTo>
                    <a:pt x="2" y="11"/>
                    <a:pt x="2" y="11"/>
                    <a:pt x="2" y="11"/>
                  </a:cubicBezTo>
                  <a:cubicBezTo>
                    <a:pt x="6" y="11"/>
                    <a:pt x="8" y="9"/>
                    <a:pt x="8" y="5"/>
                  </a:cubicBezTo>
                  <a:cubicBezTo>
                    <a:pt x="8" y="0"/>
                    <a:pt x="8" y="0"/>
                    <a:pt x="8" y="0"/>
                  </a:cubicBezTo>
                  <a:cubicBezTo>
                    <a:pt x="17" y="0"/>
                    <a:pt x="17" y="0"/>
                    <a:pt x="17" y="0"/>
                  </a:cubicBezTo>
                  <a:lnTo>
                    <a:pt x="17" y="1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32" name="Freeform 25"/>
            <p:cNvSpPr>
              <a:spLocks noEditPoints="1"/>
            </p:cNvSpPr>
            <p:nvPr userDrawn="1"/>
          </p:nvSpPr>
          <p:spPr bwMode="auto">
            <a:xfrm>
              <a:off x="10374313" y="2246313"/>
              <a:ext cx="598488" cy="608012"/>
            </a:xfrm>
            <a:custGeom>
              <a:avLst/>
              <a:gdLst>
                <a:gd name="T0" fmla="*/ 30 w 40"/>
                <a:gd name="T1" fmla="*/ 20 h 40"/>
                <a:gd name="T2" fmla="*/ 20 w 40"/>
                <a:gd name="T3" fmla="*/ 9 h 40"/>
                <a:gd name="T4" fmla="*/ 10 w 40"/>
                <a:gd name="T5" fmla="*/ 20 h 40"/>
                <a:gd name="T6" fmla="*/ 20 w 40"/>
                <a:gd name="T7" fmla="*/ 31 h 40"/>
                <a:gd name="T8" fmla="*/ 30 w 40"/>
                <a:gd name="T9" fmla="*/ 20 h 40"/>
                <a:gd name="T10" fmla="*/ 40 w 40"/>
                <a:gd name="T11" fmla="*/ 20 h 40"/>
                <a:gd name="T12" fmla="*/ 20 w 40"/>
                <a:gd name="T13" fmla="*/ 40 h 40"/>
                <a:gd name="T14" fmla="*/ 0 w 40"/>
                <a:gd name="T15" fmla="*/ 20 h 40"/>
                <a:gd name="T16" fmla="*/ 20 w 40"/>
                <a:gd name="T17" fmla="*/ 0 h 40"/>
                <a:gd name="T18" fmla="*/ 40 w 40"/>
                <a:gd name="T19"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40">
                  <a:moveTo>
                    <a:pt x="30" y="20"/>
                  </a:moveTo>
                  <a:cubicBezTo>
                    <a:pt x="30" y="13"/>
                    <a:pt x="25" y="9"/>
                    <a:pt x="20" y="9"/>
                  </a:cubicBezTo>
                  <a:cubicBezTo>
                    <a:pt x="15" y="9"/>
                    <a:pt x="10" y="13"/>
                    <a:pt x="10" y="20"/>
                  </a:cubicBezTo>
                  <a:cubicBezTo>
                    <a:pt x="10" y="27"/>
                    <a:pt x="15" y="31"/>
                    <a:pt x="20" y="31"/>
                  </a:cubicBezTo>
                  <a:cubicBezTo>
                    <a:pt x="25" y="31"/>
                    <a:pt x="30" y="27"/>
                    <a:pt x="30" y="20"/>
                  </a:cubicBezTo>
                  <a:moveTo>
                    <a:pt x="40" y="20"/>
                  </a:moveTo>
                  <a:cubicBezTo>
                    <a:pt x="40" y="32"/>
                    <a:pt x="31" y="40"/>
                    <a:pt x="20" y="40"/>
                  </a:cubicBezTo>
                  <a:cubicBezTo>
                    <a:pt x="9" y="40"/>
                    <a:pt x="0" y="32"/>
                    <a:pt x="0" y="20"/>
                  </a:cubicBezTo>
                  <a:cubicBezTo>
                    <a:pt x="0" y="8"/>
                    <a:pt x="9" y="0"/>
                    <a:pt x="20" y="0"/>
                  </a:cubicBezTo>
                  <a:cubicBezTo>
                    <a:pt x="31" y="0"/>
                    <a:pt x="40" y="8"/>
                    <a:pt x="40" y="2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33" name="Freeform 26"/>
            <p:cNvSpPr>
              <a:spLocks/>
            </p:cNvSpPr>
            <p:nvPr userDrawn="1"/>
          </p:nvSpPr>
          <p:spPr bwMode="auto">
            <a:xfrm>
              <a:off x="11303000" y="2001838"/>
              <a:ext cx="538163" cy="836612"/>
            </a:xfrm>
            <a:custGeom>
              <a:avLst/>
              <a:gdLst>
                <a:gd name="T0" fmla="*/ 0 w 339"/>
                <a:gd name="T1" fmla="*/ 527 h 527"/>
                <a:gd name="T2" fmla="*/ 0 w 339"/>
                <a:gd name="T3" fmla="*/ 0 h 527"/>
                <a:gd name="T4" fmla="*/ 103 w 339"/>
                <a:gd name="T5" fmla="*/ 0 h 527"/>
                <a:gd name="T6" fmla="*/ 103 w 339"/>
                <a:gd name="T7" fmla="*/ 431 h 527"/>
                <a:gd name="T8" fmla="*/ 339 w 339"/>
                <a:gd name="T9" fmla="*/ 431 h 527"/>
                <a:gd name="T10" fmla="*/ 339 w 339"/>
                <a:gd name="T11" fmla="*/ 527 h 527"/>
                <a:gd name="T12" fmla="*/ 0 w 339"/>
                <a:gd name="T13" fmla="*/ 527 h 527"/>
              </a:gdLst>
              <a:ahLst/>
              <a:cxnLst>
                <a:cxn ang="0">
                  <a:pos x="T0" y="T1"/>
                </a:cxn>
                <a:cxn ang="0">
                  <a:pos x="T2" y="T3"/>
                </a:cxn>
                <a:cxn ang="0">
                  <a:pos x="T4" y="T5"/>
                </a:cxn>
                <a:cxn ang="0">
                  <a:pos x="T6" y="T7"/>
                </a:cxn>
                <a:cxn ang="0">
                  <a:pos x="T8" y="T9"/>
                </a:cxn>
                <a:cxn ang="0">
                  <a:pos x="T10" y="T11"/>
                </a:cxn>
                <a:cxn ang="0">
                  <a:pos x="T12" y="T13"/>
                </a:cxn>
              </a:cxnLst>
              <a:rect l="0" t="0" r="r" b="b"/>
              <a:pathLst>
                <a:path w="339" h="527">
                  <a:moveTo>
                    <a:pt x="0" y="527"/>
                  </a:moveTo>
                  <a:lnTo>
                    <a:pt x="0" y="0"/>
                  </a:lnTo>
                  <a:lnTo>
                    <a:pt x="103" y="0"/>
                  </a:lnTo>
                  <a:lnTo>
                    <a:pt x="103" y="431"/>
                  </a:lnTo>
                  <a:lnTo>
                    <a:pt x="339" y="431"/>
                  </a:lnTo>
                  <a:lnTo>
                    <a:pt x="339" y="527"/>
                  </a:lnTo>
                  <a:lnTo>
                    <a:pt x="0" y="52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34" name="Freeform 27"/>
            <p:cNvSpPr>
              <a:spLocks noEditPoints="1"/>
            </p:cNvSpPr>
            <p:nvPr userDrawn="1"/>
          </p:nvSpPr>
          <p:spPr bwMode="auto">
            <a:xfrm>
              <a:off x="11915775" y="1971675"/>
              <a:ext cx="195263" cy="866775"/>
            </a:xfrm>
            <a:custGeom>
              <a:avLst/>
              <a:gdLst>
                <a:gd name="T0" fmla="*/ 2 w 13"/>
                <a:gd name="T1" fmla="*/ 19 h 57"/>
                <a:gd name="T2" fmla="*/ 12 w 13"/>
                <a:gd name="T3" fmla="*/ 19 h 57"/>
                <a:gd name="T4" fmla="*/ 12 w 13"/>
                <a:gd name="T5" fmla="*/ 57 h 57"/>
                <a:gd name="T6" fmla="*/ 2 w 13"/>
                <a:gd name="T7" fmla="*/ 57 h 57"/>
                <a:gd name="T8" fmla="*/ 2 w 13"/>
                <a:gd name="T9" fmla="*/ 19 h 57"/>
                <a:gd name="T10" fmla="*/ 7 w 13"/>
                <a:gd name="T11" fmla="*/ 0 h 57"/>
                <a:gd name="T12" fmla="*/ 13 w 13"/>
                <a:gd name="T13" fmla="*/ 7 h 57"/>
                <a:gd name="T14" fmla="*/ 7 w 13"/>
                <a:gd name="T15" fmla="*/ 13 h 57"/>
                <a:gd name="T16" fmla="*/ 0 w 13"/>
                <a:gd name="T17" fmla="*/ 7 h 57"/>
                <a:gd name="T18" fmla="*/ 7 w 13"/>
                <a:gd name="T1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57">
                  <a:moveTo>
                    <a:pt x="2" y="19"/>
                  </a:moveTo>
                  <a:cubicBezTo>
                    <a:pt x="12" y="19"/>
                    <a:pt x="12" y="19"/>
                    <a:pt x="12" y="19"/>
                  </a:cubicBezTo>
                  <a:cubicBezTo>
                    <a:pt x="12" y="57"/>
                    <a:pt x="12" y="57"/>
                    <a:pt x="12" y="57"/>
                  </a:cubicBezTo>
                  <a:cubicBezTo>
                    <a:pt x="2" y="57"/>
                    <a:pt x="2" y="57"/>
                    <a:pt x="2" y="57"/>
                  </a:cubicBezTo>
                  <a:lnTo>
                    <a:pt x="2" y="19"/>
                  </a:lnTo>
                  <a:close/>
                  <a:moveTo>
                    <a:pt x="7" y="0"/>
                  </a:moveTo>
                  <a:cubicBezTo>
                    <a:pt x="10" y="0"/>
                    <a:pt x="13" y="3"/>
                    <a:pt x="13" y="7"/>
                  </a:cubicBezTo>
                  <a:cubicBezTo>
                    <a:pt x="13" y="10"/>
                    <a:pt x="10" y="13"/>
                    <a:pt x="7" y="13"/>
                  </a:cubicBezTo>
                  <a:cubicBezTo>
                    <a:pt x="3" y="13"/>
                    <a:pt x="0" y="10"/>
                    <a:pt x="0" y="7"/>
                  </a:cubicBezTo>
                  <a:cubicBezTo>
                    <a:pt x="0" y="3"/>
                    <a:pt x="3" y="0"/>
                    <a:pt x="7" y="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35" name="Freeform 28"/>
            <p:cNvSpPr>
              <a:spLocks/>
            </p:cNvSpPr>
            <p:nvPr userDrawn="1"/>
          </p:nvSpPr>
          <p:spPr bwMode="auto">
            <a:xfrm>
              <a:off x="12215813" y="1987550"/>
              <a:ext cx="374650" cy="850900"/>
            </a:xfrm>
            <a:custGeom>
              <a:avLst/>
              <a:gdLst>
                <a:gd name="T0" fmla="*/ 16 w 25"/>
                <a:gd name="T1" fmla="*/ 14 h 56"/>
                <a:gd name="T2" fmla="*/ 16 w 25"/>
                <a:gd name="T3" fmla="*/ 18 h 56"/>
                <a:gd name="T4" fmla="*/ 25 w 25"/>
                <a:gd name="T5" fmla="*/ 18 h 56"/>
                <a:gd name="T6" fmla="*/ 25 w 25"/>
                <a:gd name="T7" fmla="*/ 27 h 56"/>
                <a:gd name="T8" fmla="*/ 16 w 25"/>
                <a:gd name="T9" fmla="*/ 27 h 56"/>
                <a:gd name="T10" fmla="*/ 16 w 25"/>
                <a:gd name="T11" fmla="*/ 56 h 56"/>
                <a:gd name="T12" fmla="*/ 6 w 25"/>
                <a:gd name="T13" fmla="*/ 56 h 56"/>
                <a:gd name="T14" fmla="*/ 6 w 25"/>
                <a:gd name="T15" fmla="*/ 27 h 56"/>
                <a:gd name="T16" fmla="*/ 0 w 25"/>
                <a:gd name="T17" fmla="*/ 27 h 56"/>
                <a:gd name="T18" fmla="*/ 0 w 25"/>
                <a:gd name="T19" fmla="*/ 18 h 56"/>
                <a:gd name="T20" fmla="*/ 6 w 25"/>
                <a:gd name="T21" fmla="*/ 18 h 56"/>
                <a:gd name="T22" fmla="*/ 6 w 25"/>
                <a:gd name="T23" fmla="*/ 14 h 56"/>
                <a:gd name="T24" fmla="*/ 20 w 25"/>
                <a:gd name="T25" fmla="*/ 0 h 56"/>
                <a:gd name="T26" fmla="*/ 25 w 25"/>
                <a:gd name="T27" fmla="*/ 0 h 56"/>
                <a:gd name="T28" fmla="*/ 25 w 25"/>
                <a:gd name="T29" fmla="*/ 9 h 56"/>
                <a:gd name="T30" fmla="*/ 22 w 25"/>
                <a:gd name="T31" fmla="*/ 9 h 56"/>
                <a:gd name="T32" fmla="*/ 16 w 25"/>
                <a:gd name="T33" fmla="*/ 14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 h="56">
                  <a:moveTo>
                    <a:pt x="16" y="14"/>
                  </a:moveTo>
                  <a:cubicBezTo>
                    <a:pt x="16" y="18"/>
                    <a:pt x="16" y="18"/>
                    <a:pt x="16" y="18"/>
                  </a:cubicBezTo>
                  <a:cubicBezTo>
                    <a:pt x="25" y="18"/>
                    <a:pt x="25" y="18"/>
                    <a:pt x="25" y="18"/>
                  </a:cubicBezTo>
                  <a:cubicBezTo>
                    <a:pt x="25" y="27"/>
                    <a:pt x="25" y="27"/>
                    <a:pt x="25" y="27"/>
                  </a:cubicBezTo>
                  <a:cubicBezTo>
                    <a:pt x="16" y="27"/>
                    <a:pt x="16" y="27"/>
                    <a:pt x="16" y="27"/>
                  </a:cubicBezTo>
                  <a:cubicBezTo>
                    <a:pt x="16" y="56"/>
                    <a:pt x="16" y="56"/>
                    <a:pt x="16" y="56"/>
                  </a:cubicBezTo>
                  <a:cubicBezTo>
                    <a:pt x="6" y="56"/>
                    <a:pt x="6" y="56"/>
                    <a:pt x="6" y="56"/>
                  </a:cubicBezTo>
                  <a:cubicBezTo>
                    <a:pt x="6" y="27"/>
                    <a:pt x="6" y="27"/>
                    <a:pt x="6" y="27"/>
                  </a:cubicBezTo>
                  <a:cubicBezTo>
                    <a:pt x="0" y="27"/>
                    <a:pt x="0" y="27"/>
                    <a:pt x="0" y="27"/>
                  </a:cubicBezTo>
                  <a:cubicBezTo>
                    <a:pt x="0" y="18"/>
                    <a:pt x="0" y="18"/>
                    <a:pt x="0" y="18"/>
                  </a:cubicBezTo>
                  <a:cubicBezTo>
                    <a:pt x="6" y="18"/>
                    <a:pt x="6" y="18"/>
                    <a:pt x="6" y="18"/>
                  </a:cubicBezTo>
                  <a:cubicBezTo>
                    <a:pt x="6" y="14"/>
                    <a:pt x="6" y="14"/>
                    <a:pt x="6" y="14"/>
                  </a:cubicBezTo>
                  <a:cubicBezTo>
                    <a:pt x="6" y="5"/>
                    <a:pt x="11" y="0"/>
                    <a:pt x="20" y="0"/>
                  </a:cubicBezTo>
                  <a:cubicBezTo>
                    <a:pt x="22" y="0"/>
                    <a:pt x="24" y="0"/>
                    <a:pt x="25" y="0"/>
                  </a:cubicBezTo>
                  <a:cubicBezTo>
                    <a:pt x="25" y="9"/>
                    <a:pt x="25" y="9"/>
                    <a:pt x="25" y="9"/>
                  </a:cubicBezTo>
                  <a:cubicBezTo>
                    <a:pt x="24" y="9"/>
                    <a:pt x="23" y="9"/>
                    <a:pt x="22" y="9"/>
                  </a:cubicBezTo>
                  <a:cubicBezTo>
                    <a:pt x="19" y="9"/>
                    <a:pt x="16" y="10"/>
                    <a:pt x="16" y="1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36" name="Freeform 29"/>
            <p:cNvSpPr>
              <a:spLocks noEditPoints="1"/>
            </p:cNvSpPr>
            <p:nvPr userDrawn="1"/>
          </p:nvSpPr>
          <p:spPr bwMode="auto">
            <a:xfrm>
              <a:off x="12620625" y="2246313"/>
              <a:ext cx="568325" cy="608012"/>
            </a:xfrm>
            <a:custGeom>
              <a:avLst/>
              <a:gdLst>
                <a:gd name="T0" fmla="*/ 28 w 38"/>
                <a:gd name="T1" fmla="*/ 16 h 40"/>
                <a:gd name="T2" fmla="*/ 19 w 38"/>
                <a:gd name="T3" fmla="*/ 8 h 40"/>
                <a:gd name="T4" fmla="*/ 11 w 38"/>
                <a:gd name="T5" fmla="*/ 16 h 40"/>
                <a:gd name="T6" fmla="*/ 28 w 38"/>
                <a:gd name="T7" fmla="*/ 16 h 40"/>
                <a:gd name="T8" fmla="*/ 37 w 38"/>
                <a:gd name="T9" fmla="*/ 28 h 40"/>
                <a:gd name="T10" fmla="*/ 20 w 38"/>
                <a:gd name="T11" fmla="*/ 40 h 40"/>
                <a:gd name="T12" fmla="*/ 0 w 38"/>
                <a:gd name="T13" fmla="*/ 20 h 40"/>
                <a:gd name="T14" fmla="*/ 19 w 38"/>
                <a:gd name="T15" fmla="*/ 0 h 40"/>
                <a:gd name="T16" fmla="*/ 38 w 38"/>
                <a:gd name="T17" fmla="*/ 20 h 40"/>
                <a:gd name="T18" fmla="*/ 38 w 38"/>
                <a:gd name="T19" fmla="*/ 23 h 40"/>
                <a:gd name="T20" fmla="*/ 10 w 38"/>
                <a:gd name="T21" fmla="*/ 23 h 40"/>
                <a:gd name="T22" fmla="*/ 20 w 38"/>
                <a:gd name="T23" fmla="*/ 32 h 40"/>
                <a:gd name="T24" fmla="*/ 29 w 38"/>
                <a:gd name="T25" fmla="*/ 26 h 40"/>
                <a:gd name="T26" fmla="*/ 37 w 38"/>
                <a:gd name="T27" fmla="*/ 2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0">
                  <a:moveTo>
                    <a:pt x="28" y="16"/>
                  </a:moveTo>
                  <a:cubicBezTo>
                    <a:pt x="28" y="12"/>
                    <a:pt x="25" y="8"/>
                    <a:pt x="19" y="8"/>
                  </a:cubicBezTo>
                  <a:cubicBezTo>
                    <a:pt x="14" y="8"/>
                    <a:pt x="11" y="12"/>
                    <a:pt x="11" y="16"/>
                  </a:cubicBezTo>
                  <a:lnTo>
                    <a:pt x="28" y="16"/>
                  </a:lnTo>
                  <a:close/>
                  <a:moveTo>
                    <a:pt x="37" y="28"/>
                  </a:moveTo>
                  <a:cubicBezTo>
                    <a:pt x="35" y="35"/>
                    <a:pt x="29" y="40"/>
                    <a:pt x="20" y="40"/>
                  </a:cubicBezTo>
                  <a:cubicBezTo>
                    <a:pt x="9" y="40"/>
                    <a:pt x="0" y="33"/>
                    <a:pt x="0" y="20"/>
                  </a:cubicBezTo>
                  <a:cubicBezTo>
                    <a:pt x="0" y="8"/>
                    <a:pt x="9" y="0"/>
                    <a:pt x="19" y="0"/>
                  </a:cubicBezTo>
                  <a:cubicBezTo>
                    <a:pt x="31" y="0"/>
                    <a:pt x="38" y="8"/>
                    <a:pt x="38" y="20"/>
                  </a:cubicBezTo>
                  <a:cubicBezTo>
                    <a:pt x="38" y="21"/>
                    <a:pt x="38" y="23"/>
                    <a:pt x="38" y="23"/>
                  </a:cubicBezTo>
                  <a:cubicBezTo>
                    <a:pt x="10" y="23"/>
                    <a:pt x="10" y="23"/>
                    <a:pt x="10" y="23"/>
                  </a:cubicBezTo>
                  <a:cubicBezTo>
                    <a:pt x="11" y="28"/>
                    <a:pt x="15" y="32"/>
                    <a:pt x="20" y="32"/>
                  </a:cubicBezTo>
                  <a:cubicBezTo>
                    <a:pt x="25" y="32"/>
                    <a:pt x="27" y="29"/>
                    <a:pt x="29" y="26"/>
                  </a:cubicBezTo>
                  <a:lnTo>
                    <a:pt x="37" y="2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37" name="Oval 30"/>
            <p:cNvSpPr>
              <a:spLocks noChangeArrowheads="1"/>
            </p:cNvSpPr>
            <p:nvPr userDrawn="1"/>
          </p:nvSpPr>
          <p:spPr bwMode="auto">
            <a:xfrm>
              <a:off x="13279438" y="2641600"/>
              <a:ext cx="209550" cy="212725"/>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38" name="Freeform 31"/>
            <p:cNvSpPr>
              <a:spLocks noEditPoints="1"/>
            </p:cNvSpPr>
            <p:nvPr userDrawn="1"/>
          </p:nvSpPr>
          <p:spPr bwMode="auto">
            <a:xfrm>
              <a:off x="593725" y="633413"/>
              <a:ext cx="4238625" cy="2266950"/>
            </a:xfrm>
            <a:custGeom>
              <a:avLst/>
              <a:gdLst>
                <a:gd name="T0" fmla="*/ 124 w 283"/>
                <a:gd name="T1" fmla="*/ 86 h 149"/>
                <a:gd name="T2" fmla="*/ 108 w 283"/>
                <a:gd name="T3" fmla="*/ 70 h 149"/>
                <a:gd name="T4" fmla="*/ 124 w 283"/>
                <a:gd name="T5" fmla="*/ 51 h 149"/>
                <a:gd name="T6" fmla="*/ 124 w 283"/>
                <a:gd name="T7" fmla="*/ 86 h 149"/>
                <a:gd name="T8" fmla="*/ 223 w 283"/>
                <a:gd name="T9" fmla="*/ 4 h 149"/>
                <a:gd name="T10" fmla="*/ 203 w 283"/>
                <a:gd name="T11" fmla="*/ 87 h 149"/>
                <a:gd name="T12" fmla="*/ 182 w 283"/>
                <a:gd name="T13" fmla="*/ 4 h 149"/>
                <a:gd name="T14" fmla="*/ 124 w 283"/>
                <a:gd name="T15" fmla="*/ 4 h 149"/>
                <a:gd name="T16" fmla="*/ 124 w 283"/>
                <a:gd name="T17" fmla="*/ 35 h 149"/>
                <a:gd name="T18" fmla="*/ 67 w 283"/>
                <a:gd name="T19" fmla="*/ 1 h 149"/>
                <a:gd name="T20" fmla="*/ 5 w 283"/>
                <a:gd name="T21" fmla="*/ 51 h 149"/>
                <a:gd name="T22" fmla="*/ 45 w 283"/>
                <a:gd name="T23" fmla="*/ 51 h 149"/>
                <a:gd name="T24" fmla="*/ 65 w 283"/>
                <a:gd name="T25" fmla="*/ 33 h 149"/>
                <a:gd name="T26" fmla="*/ 83 w 283"/>
                <a:gd name="T27" fmla="*/ 46 h 149"/>
                <a:gd name="T28" fmla="*/ 65 w 283"/>
                <a:gd name="T29" fmla="*/ 58 h 149"/>
                <a:gd name="T30" fmla="*/ 52 w 283"/>
                <a:gd name="T31" fmla="*/ 58 h 149"/>
                <a:gd name="T32" fmla="*/ 52 w 283"/>
                <a:gd name="T33" fmla="*/ 85 h 149"/>
                <a:gd name="T34" fmla="*/ 64 w 283"/>
                <a:gd name="T35" fmla="*/ 85 h 149"/>
                <a:gd name="T36" fmla="*/ 81 w 283"/>
                <a:gd name="T37" fmla="*/ 99 h 149"/>
                <a:gd name="T38" fmla="*/ 63 w 283"/>
                <a:gd name="T39" fmla="*/ 115 h 149"/>
                <a:gd name="T40" fmla="*/ 41 w 283"/>
                <a:gd name="T41" fmla="*/ 89 h 149"/>
                <a:gd name="T42" fmla="*/ 0 w 283"/>
                <a:gd name="T43" fmla="*/ 89 h 149"/>
                <a:gd name="T44" fmla="*/ 64 w 283"/>
                <a:gd name="T45" fmla="*/ 148 h 149"/>
                <a:gd name="T46" fmla="*/ 124 w 283"/>
                <a:gd name="T47" fmla="*/ 118 h 149"/>
                <a:gd name="T48" fmla="*/ 124 w 283"/>
                <a:gd name="T49" fmla="*/ 145 h 149"/>
                <a:gd name="T50" fmla="*/ 163 w 283"/>
                <a:gd name="T51" fmla="*/ 145 h 149"/>
                <a:gd name="T52" fmla="*/ 163 w 283"/>
                <a:gd name="T53" fmla="*/ 56 h 149"/>
                <a:gd name="T54" fmla="*/ 185 w 283"/>
                <a:gd name="T55" fmla="*/ 145 h 149"/>
                <a:gd name="T56" fmla="*/ 220 w 283"/>
                <a:gd name="T57" fmla="*/ 145 h 149"/>
                <a:gd name="T58" fmla="*/ 242 w 283"/>
                <a:gd name="T59" fmla="*/ 56 h 149"/>
                <a:gd name="T60" fmla="*/ 242 w 283"/>
                <a:gd name="T61" fmla="*/ 145 h 149"/>
                <a:gd name="T62" fmla="*/ 283 w 283"/>
                <a:gd name="T63" fmla="*/ 145 h 149"/>
                <a:gd name="T64" fmla="*/ 283 w 283"/>
                <a:gd name="T65" fmla="*/ 4 h 149"/>
                <a:gd name="T66" fmla="*/ 223 w 283"/>
                <a:gd name="T67" fmla="*/ 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3" h="149">
                  <a:moveTo>
                    <a:pt x="124" y="86"/>
                  </a:moveTo>
                  <a:cubicBezTo>
                    <a:pt x="119" y="76"/>
                    <a:pt x="112" y="71"/>
                    <a:pt x="108" y="70"/>
                  </a:cubicBezTo>
                  <a:cubicBezTo>
                    <a:pt x="116" y="66"/>
                    <a:pt x="120" y="61"/>
                    <a:pt x="124" y="51"/>
                  </a:cubicBezTo>
                  <a:lnTo>
                    <a:pt x="124" y="86"/>
                  </a:lnTo>
                  <a:close/>
                  <a:moveTo>
                    <a:pt x="223" y="4"/>
                  </a:moveTo>
                  <a:cubicBezTo>
                    <a:pt x="203" y="87"/>
                    <a:pt x="203" y="87"/>
                    <a:pt x="203" y="87"/>
                  </a:cubicBezTo>
                  <a:cubicBezTo>
                    <a:pt x="182" y="4"/>
                    <a:pt x="182" y="4"/>
                    <a:pt x="182" y="4"/>
                  </a:cubicBezTo>
                  <a:cubicBezTo>
                    <a:pt x="124" y="4"/>
                    <a:pt x="124" y="4"/>
                    <a:pt x="124" y="4"/>
                  </a:cubicBezTo>
                  <a:cubicBezTo>
                    <a:pt x="124" y="35"/>
                    <a:pt x="124" y="35"/>
                    <a:pt x="124" y="35"/>
                  </a:cubicBezTo>
                  <a:cubicBezTo>
                    <a:pt x="116" y="8"/>
                    <a:pt x="90" y="1"/>
                    <a:pt x="67" y="1"/>
                  </a:cubicBezTo>
                  <a:cubicBezTo>
                    <a:pt x="38" y="0"/>
                    <a:pt x="7" y="13"/>
                    <a:pt x="5" y="51"/>
                  </a:cubicBezTo>
                  <a:cubicBezTo>
                    <a:pt x="45" y="51"/>
                    <a:pt x="45" y="51"/>
                    <a:pt x="45" y="51"/>
                  </a:cubicBezTo>
                  <a:cubicBezTo>
                    <a:pt x="45" y="39"/>
                    <a:pt x="55" y="33"/>
                    <a:pt x="65" y="33"/>
                  </a:cubicBezTo>
                  <a:cubicBezTo>
                    <a:pt x="77" y="33"/>
                    <a:pt x="83" y="38"/>
                    <a:pt x="83" y="46"/>
                  </a:cubicBezTo>
                  <a:cubicBezTo>
                    <a:pt x="83" y="53"/>
                    <a:pt x="79" y="58"/>
                    <a:pt x="65" y="58"/>
                  </a:cubicBezTo>
                  <a:cubicBezTo>
                    <a:pt x="52" y="58"/>
                    <a:pt x="52" y="58"/>
                    <a:pt x="52" y="58"/>
                  </a:cubicBezTo>
                  <a:cubicBezTo>
                    <a:pt x="52" y="85"/>
                    <a:pt x="52" y="85"/>
                    <a:pt x="52" y="85"/>
                  </a:cubicBezTo>
                  <a:cubicBezTo>
                    <a:pt x="64" y="85"/>
                    <a:pt x="64" y="85"/>
                    <a:pt x="64" y="85"/>
                  </a:cubicBezTo>
                  <a:cubicBezTo>
                    <a:pt x="71" y="85"/>
                    <a:pt x="81" y="89"/>
                    <a:pt x="81" y="99"/>
                  </a:cubicBezTo>
                  <a:cubicBezTo>
                    <a:pt x="81" y="110"/>
                    <a:pt x="73" y="115"/>
                    <a:pt x="63" y="115"/>
                  </a:cubicBezTo>
                  <a:cubicBezTo>
                    <a:pt x="46" y="115"/>
                    <a:pt x="41" y="101"/>
                    <a:pt x="41" y="89"/>
                  </a:cubicBezTo>
                  <a:cubicBezTo>
                    <a:pt x="0" y="89"/>
                    <a:pt x="0" y="89"/>
                    <a:pt x="0" y="89"/>
                  </a:cubicBezTo>
                  <a:cubicBezTo>
                    <a:pt x="0" y="97"/>
                    <a:pt x="0" y="149"/>
                    <a:pt x="64" y="148"/>
                  </a:cubicBezTo>
                  <a:cubicBezTo>
                    <a:pt x="95" y="149"/>
                    <a:pt x="117" y="136"/>
                    <a:pt x="124" y="118"/>
                  </a:cubicBezTo>
                  <a:cubicBezTo>
                    <a:pt x="124" y="145"/>
                    <a:pt x="124" y="145"/>
                    <a:pt x="124" y="145"/>
                  </a:cubicBezTo>
                  <a:cubicBezTo>
                    <a:pt x="163" y="145"/>
                    <a:pt x="163" y="145"/>
                    <a:pt x="163" y="145"/>
                  </a:cubicBezTo>
                  <a:cubicBezTo>
                    <a:pt x="163" y="56"/>
                    <a:pt x="163" y="56"/>
                    <a:pt x="163" y="56"/>
                  </a:cubicBezTo>
                  <a:cubicBezTo>
                    <a:pt x="185" y="145"/>
                    <a:pt x="185" y="145"/>
                    <a:pt x="185" y="145"/>
                  </a:cubicBezTo>
                  <a:cubicBezTo>
                    <a:pt x="220" y="145"/>
                    <a:pt x="220" y="145"/>
                    <a:pt x="220" y="145"/>
                  </a:cubicBezTo>
                  <a:cubicBezTo>
                    <a:pt x="242" y="56"/>
                    <a:pt x="242" y="56"/>
                    <a:pt x="242" y="56"/>
                  </a:cubicBezTo>
                  <a:cubicBezTo>
                    <a:pt x="242" y="145"/>
                    <a:pt x="242" y="145"/>
                    <a:pt x="242" y="145"/>
                  </a:cubicBezTo>
                  <a:cubicBezTo>
                    <a:pt x="283" y="145"/>
                    <a:pt x="283" y="145"/>
                    <a:pt x="283" y="145"/>
                  </a:cubicBezTo>
                  <a:cubicBezTo>
                    <a:pt x="283" y="4"/>
                    <a:pt x="283" y="4"/>
                    <a:pt x="283" y="4"/>
                  </a:cubicBezTo>
                  <a:lnTo>
                    <a:pt x="223" y="4"/>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39" name="Freeform 32"/>
            <p:cNvSpPr>
              <a:spLocks/>
            </p:cNvSpPr>
            <p:nvPr userDrawn="1"/>
          </p:nvSpPr>
          <p:spPr bwMode="auto">
            <a:xfrm>
              <a:off x="13742988" y="2001838"/>
              <a:ext cx="285750" cy="258762"/>
            </a:xfrm>
            <a:custGeom>
              <a:avLst/>
              <a:gdLst>
                <a:gd name="T0" fmla="*/ 133 w 180"/>
                <a:gd name="T1" fmla="*/ 0 h 163"/>
                <a:gd name="T2" fmla="*/ 95 w 180"/>
                <a:gd name="T3" fmla="*/ 125 h 163"/>
                <a:gd name="T4" fmla="*/ 48 w 180"/>
                <a:gd name="T5" fmla="*/ 0 h 163"/>
                <a:gd name="T6" fmla="*/ 0 w 180"/>
                <a:gd name="T7" fmla="*/ 0 h 163"/>
                <a:gd name="T8" fmla="*/ 0 w 180"/>
                <a:gd name="T9" fmla="*/ 163 h 163"/>
                <a:gd name="T10" fmla="*/ 29 w 180"/>
                <a:gd name="T11" fmla="*/ 163 h 163"/>
                <a:gd name="T12" fmla="*/ 29 w 180"/>
                <a:gd name="T13" fmla="*/ 58 h 163"/>
                <a:gd name="T14" fmla="*/ 76 w 180"/>
                <a:gd name="T15" fmla="*/ 163 h 163"/>
                <a:gd name="T16" fmla="*/ 104 w 180"/>
                <a:gd name="T17" fmla="*/ 163 h 163"/>
                <a:gd name="T18" fmla="*/ 151 w 180"/>
                <a:gd name="T19" fmla="*/ 58 h 163"/>
                <a:gd name="T20" fmla="*/ 151 w 180"/>
                <a:gd name="T21" fmla="*/ 163 h 163"/>
                <a:gd name="T22" fmla="*/ 180 w 180"/>
                <a:gd name="T23" fmla="*/ 163 h 163"/>
                <a:gd name="T24" fmla="*/ 180 w 180"/>
                <a:gd name="T25" fmla="*/ 0 h 163"/>
                <a:gd name="T26" fmla="*/ 133 w 180"/>
                <a:gd name="T2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0" h="163">
                  <a:moveTo>
                    <a:pt x="133" y="0"/>
                  </a:moveTo>
                  <a:lnTo>
                    <a:pt x="95" y="125"/>
                  </a:lnTo>
                  <a:lnTo>
                    <a:pt x="48" y="0"/>
                  </a:lnTo>
                  <a:lnTo>
                    <a:pt x="0" y="0"/>
                  </a:lnTo>
                  <a:lnTo>
                    <a:pt x="0" y="163"/>
                  </a:lnTo>
                  <a:lnTo>
                    <a:pt x="29" y="163"/>
                  </a:lnTo>
                  <a:lnTo>
                    <a:pt x="29" y="58"/>
                  </a:lnTo>
                  <a:lnTo>
                    <a:pt x="76" y="163"/>
                  </a:lnTo>
                  <a:lnTo>
                    <a:pt x="104" y="163"/>
                  </a:lnTo>
                  <a:lnTo>
                    <a:pt x="151" y="58"/>
                  </a:lnTo>
                  <a:lnTo>
                    <a:pt x="151" y="163"/>
                  </a:lnTo>
                  <a:lnTo>
                    <a:pt x="180" y="163"/>
                  </a:lnTo>
                  <a:lnTo>
                    <a:pt x="180" y="0"/>
                  </a:lnTo>
                  <a:lnTo>
                    <a:pt x="133"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sp>
          <p:nvSpPr>
            <p:cNvPr id="40" name="Freeform 33"/>
            <p:cNvSpPr>
              <a:spLocks/>
            </p:cNvSpPr>
            <p:nvPr userDrawn="1"/>
          </p:nvSpPr>
          <p:spPr bwMode="auto">
            <a:xfrm>
              <a:off x="13488988" y="2001838"/>
              <a:ext cx="209550" cy="258762"/>
            </a:xfrm>
            <a:custGeom>
              <a:avLst/>
              <a:gdLst>
                <a:gd name="T0" fmla="*/ 0 w 132"/>
                <a:gd name="T1" fmla="*/ 0 h 163"/>
                <a:gd name="T2" fmla="*/ 132 w 132"/>
                <a:gd name="T3" fmla="*/ 0 h 163"/>
                <a:gd name="T4" fmla="*/ 132 w 132"/>
                <a:gd name="T5" fmla="*/ 39 h 163"/>
                <a:gd name="T6" fmla="*/ 85 w 132"/>
                <a:gd name="T7" fmla="*/ 39 h 163"/>
                <a:gd name="T8" fmla="*/ 85 w 132"/>
                <a:gd name="T9" fmla="*/ 163 h 163"/>
                <a:gd name="T10" fmla="*/ 57 w 132"/>
                <a:gd name="T11" fmla="*/ 163 h 163"/>
                <a:gd name="T12" fmla="*/ 57 w 132"/>
                <a:gd name="T13" fmla="*/ 39 h 163"/>
                <a:gd name="T14" fmla="*/ 0 w 132"/>
                <a:gd name="T15" fmla="*/ 39 h 163"/>
                <a:gd name="T16" fmla="*/ 0 w 132"/>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2" h="163">
                  <a:moveTo>
                    <a:pt x="0" y="0"/>
                  </a:moveTo>
                  <a:lnTo>
                    <a:pt x="132" y="0"/>
                  </a:lnTo>
                  <a:lnTo>
                    <a:pt x="132" y="39"/>
                  </a:lnTo>
                  <a:lnTo>
                    <a:pt x="85" y="39"/>
                  </a:lnTo>
                  <a:lnTo>
                    <a:pt x="85" y="163"/>
                  </a:lnTo>
                  <a:lnTo>
                    <a:pt x="57" y="163"/>
                  </a:lnTo>
                  <a:lnTo>
                    <a:pt x="57" y="39"/>
                  </a:lnTo>
                  <a:lnTo>
                    <a:pt x="0" y="39"/>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0" tIns="0" rIns="0" bIns="0" numCol="1" anchor="t" anchorCtr="0" compatLnSpc="1">
              <a:prstTxWarp prst="textNoShape">
                <a:avLst/>
              </a:prstTxWarp>
              <a:noAutofit/>
            </a:bodyPr>
            <a:lstStyle/>
            <a:p>
              <a:endParaRPr lang="en-GB" dirty="0">
                <a:solidFill>
                  <a:prstClr val="black"/>
                </a:solidFill>
              </a:endParaRPr>
            </a:p>
          </p:txBody>
        </p:sp>
      </p:grpSp>
      <p:sp>
        <p:nvSpPr>
          <p:cNvPr id="42" name="Text Placeholder 2"/>
          <p:cNvSpPr>
            <a:spLocks noGrp="1"/>
          </p:cNvSpPr>
          <p:nvPr>
            <p:ph type="body" idx="1" hasCustomPrompt="1"/>
          </p:nvPr>
        </p:nvSpPr>
        <p:spPr>
          <a:xfrm>
            <a:off x="379413" y="3327356"/>
            <a:ext cx="9521825" cy="1477328"/>
          </a:xfrm>
        </p:spPr>
        <p:txBody>
          <a:bodyPr vert="horz" wrap="square" lIns="0" tIns="0" rIns="0" bIns="0" anchor="t" anchorCtr="0">
            <a:noAutofit/>
          </a:bodyPr>
          <a:lstStyle>
            <a:lvl1pPr marL="0" indent="0">
              <a:buNone/>
              <a:defRPr lang="en-US" sz="4800" kern="1200" dirty="0" smtClean="0">
                <a:solidFill>
                  <a:schemeClr val="tx1"/>
                </a:solidFill>
                <a:latin typeface="+mj-lt"/>
                <a:ea typeface="+mj-ea"/>
                <a:cs typeface="+mj-cs"/>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subtitle style</a:t>
            </a:r>
          </a:p>
        </p:txBody>
      </p:sp>
      <p:sp>
        <p:nvSpPr>
          <p:cNvPr id="49" name="Date Placeholder 3"/>
          <p:cNvSpPr>
            <a:spLocks noGrp="1"/>
          </p:cNvSpPr>
          <p:nvPr>
            <p:ph type="dt" sz="half" idx="12"/>
          </p:nvPr>
        </p:nvSpPr>
        <p:spPr>
          <a:xfrm>
            <a:off x="379413" y="6541346"/>
            <a:ext cx="1925637" cy="129600"/>
          </a:xfrm>
          <a:prstGeom prst="rect">
            <a:avLst/>
          </a:prstGeom>
        </p:spPr>
        <p:txBody>
          <a:bodyPr vert="horz" wrap="square" lIns="0" tIns="0" rIns="0" bIns="0" anchor="b" anchorCtr="0">
            <a:noAutofit/>
          </a:bodyPr>
          <a:lstStyle>
            <a:lvl1pPr>
              <a:defRPr sz="600">
                <a:latin typeface="+mj-lt"/>
              </a:defRPr>
            </a:lvl1pPr>
          </a:lstStyle>
          <a:p>
            <a:fld id="{90BFBC2B-DD7F-42A3-88FF-0CE1FD35A22A}" type="datetime6">
              <a:rPr lang="en-US" smtClean="0">
                <a:solidFill>
                  <a:prstClr val="black"/>
                </a:solidFill>
              </a:rPr>
              <a:pPr/>
              <a:t>October 18</a:t>
            </a:fld>
            <a:endParaRPr lang="en-GB" dirty="0">
              <a:solidFill>
                <a:prstClr val="black"/>
              </a:solidFill>
            </a:endParaRPr>
          </a:p>
        </p:txBody>
      </p:sp>
    </p:spTree>
    <p:extLst>
      <p:ext uri="{BB962C8B-B14F-4D97-AF65-F5344CB8AC3E}">
        <p14:creationId xmlns:p14="http://schemas.microsoft.com/office/powerpoint/2010/main" val="3937970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2667000" y="-2667000"/>
            <a:ext cx="6858000" cy="12192000"/>
          </a:xfrm>
          <a:prstGeom prst="rect">
            <a:avLst/>
          </a:prstGeom>
        </p:spPr>
      </p:pic>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554696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0" y="0"/>
            <a:ext cx="12192000" cy="6858000"/>
          </a:xfrm>
          <a:prstGeom prst="rect">
            <a:avLst/>
          </a:prstGeom>
          <a:gradFill>
            <a:gsLst>
              <a:gs pos="83000">
                <a:srgbClr val="003CE6"/>
              </a:gs>
              <a:gs pos="0">
                <a:srgbClr val="00C8E6"/>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4174070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rot="5400000">
            <a:off x="2666333" y="-2665476"/>
            <a:ext cx="6856286" cy="12188952"/>
          </a:xfrm>
          <a:prstGeom prst="rect">
            <a:avLst/>
          </a:prstGeom>
        </p:spPr>
      </p:pic>
      <p:sp>
        <p:nvSpPr>
          <p:cNvPr id="2" name="Title 1"/>
          <p:cNvSpPr>
            <a:spLocks noGrp="1"/>
          </p:cNvSpPr>
          <p:nvPr>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1634129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icture Placeholder 9"/>
          <p:cNvSpPr>
            <a:spLocks noGrp="1"/>
          </p:cNvSpPr>
          <p:nvPr>
            <p:ph type="pic" sz="quarter" idx="17"/>
          </p:nvPr>
        </p:nvSpPr>
        <p:spPr>
          <a:xfrm>
            <a:off x="4178340" y="379413"/>
            <a:ext cx="3821072" cy="5873750"/>
          </a:xfrm>
          <a:solidFill>
            <a:schemeClr val="bg1">
              <a:lumMod val="85000"/>
            </a:schemeClr>
          </a:solidFill>
        </p:spPr>
        <p:txBody>
          <a:bodyPr lIns="0" rIns="0"/>
          <a:lstStyle/>
          <a:p>
            <a:r>
              <a:rPr lang="en-US" dirty="0"/>
              <a:t>Click icon to add picture</a:t>
            </a:r>
            <a:endParaRPr lang="en-GB" dirty="0"/>
          </a:p>
        </p:txBody>
      </p:sp>
      <p:sp>
        <p:nvSpPr>
          <p:cNvPr id="20" name="Picture Placeholder 9"/>
          <p:cNvSpPr>
            <a:spLocks noGrp="1"/>
          </p:cNvSpPr>
          <p:nvPr>
            <p:ph type="pic" sz="quarter" idx="18"/>
          </p:nvPr>
        </p:nvSpPr>
        <p:spPr>
          <a:xfrm>
            <a:off x="7988648" y="379413"/>
            <a:ext cx="3816002"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25415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0" name="Picture Placeholder 9"/>
          <p:cNvSpPr>
            <a:spLocks noGrp="1"/>
          </p:cNvSpPr>
          <p:nvPr>
            <p:ph type="pic" sz="quarter" idx="18"/>
          </p:nvPr>
        </p:nvSpPr>
        <p:spPr>
          <a:xfrm>
            <a:off x="4178340" y="379413"/>
            <a:ext cx="2538578" cy="5873750"/>
          </a:xfrm>
          <a:solidFill>
            <a:schemeClr val="bg1">
              <a:lumMod val="85000"/>
            </a:schemeClr>
          </a:solidFill>
        </p:spPr>
        <p:txBody>
          <a:bodyPr lIns="0" rIns="0"/>
          <a:lstStyle/>
          <a:p>
            <a:r>
              <a:rPr lang="en-US" dirty="0"/>
              <a:t>Click icon to add picture</a:t>
            </a:r>
            <a:endParaRPr lang="en-GB" dirty="0"/>
          </a:p>
        </p:txBody>
      </p:sp>
      <p:sp>
        <p:nvSpPr>
          <p:cNvPr id="21" name="Picture Placeholder 9"/>
          <p:cNvSpPr>
            <a:spLocks noGrp="1"/>
          </p:cNvSpPr>
          <p:nvPr>
            <p:ph type="pic" sz="quarter" idx="19"/>
          </p:nvPr>
        </p:nvSpPr>
        <p:spPr>
          <a:xfrm>
            <a:off x="6716918" y="379413"/>
            <a:ext cx="2576798" cy="5873750"/>
          </a:xfrm>
          <a:solidFill>
            <a:schemeClr val="bg1">
              <a:lumMod val="85000"/>
            </a:schemeClr>
          </a:solidFill>
        </p:spPr>
        <p:txBody>
          <a:bodyPr lIns="0" rIns="0"/>
          <a:lstStyle/>
          <a:p>
            <a:r>
              <a:rPr lang="en-US" dirty="0"/>
              <a:t>Click icon to add picture</a:t>
            </a:r>
            <a:endParaRPr lang="en-GB" dirty="0"/>
          </a:p>
        </p:txBody>
      </p:sp>
      <p:sp>
        <p:nvSpPr>
          <p:cNvPr id="22" name="Picture Placeholder 9"/>
          <p:cNvSpPr>
            <a:spLocks noGrp="1"/>
          </p:cNvSpPr>
          <p:nvPr>
            <p:ph type="pic" sz="quarter" idx="20"/>
          </p:nvPr>
        </p:nvSpPr>
        <p:spPr>
          <a:xfrm>
            <a:off x="9293716" y="379413"/>
            <a:ext cx="2510933" cy="5873750"/>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2" name="TextBox 11"/>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3" name="Group 22"/>
          <p:cNvGrpSpPr>
            <a:grpSpLocks/>
          </p:cNvGrpSpPr>
          <p:nvPr userDrawn="1"/>
        </p:nvGrpSpPr>
        <p:grpSpPr bwMode="auto">
          <a:xfrm>
            <a:off x="-264086" y="6596401"/>
            <a:ext cx="2147228" cy="184155"/>
            <a:chOff x="9374212" y="6574531"/>
            <a:chExt cx="2147228" cy="182885"/>
          </a:xfrm>
        </p:grpSpPr>
        <p:grpSp>
          <p:nvGrpSpPr>
            <p:cNvPr id="14" name="Group 8"/>
            <p:cNvGrpSpPr>
              <a:grpSpLocks/>
            </p:cNvGrpSpPr>
            <p:nvPr/>
          </p:nvGrpSpPr>
          <p:grpSpPr bwMode="auto">
            <a:xfrm>
              <a:off x="9374212" y="6574531"/>
              <a:ext cx="2147228" cy="182883"/>
              <a:chOff x="9378677" y="6574531"/>
              <a:chExt cx="2147228" cy="182883"/>
            </a:xfrm>
          </p:grpSpPr>
          <p:sp>
            <p:nvSpPr>
              <p:cNvPr id="16"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7"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8"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5"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9"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62276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4" name="Group 22"/>
          <p:cNvGrpSpPr>
            <a:grpSpLocks/>
          </p:cNvGrpSpPr>
          <p:nvPr userDrawn="1"/>
        </p:nvGrpSpPr>
        <p:grpSpPr bwMode="auto">
          <a:xfrm>
            <a:off x="-264086" y="6596401"/>
            <a:ext cx="2147228" cy="184155"/>
            <a:chOff x="9374212" y="6574531"/>
            <a:chExt cx="2147228" cy="182885"/>
          </a:xfrm>
        </p:grpSpPr>
        <p:grpSp>
          <p:nvGrpSpPr>
            <p:cNvPr id="5" name="Group 8"/>
            <p:cNvGrpSpPr>
              <a:grpSpLocks/>
            </p:cNvGrpSpPr>
            <p:nvPr/>
          </p:nvGrpSpPr>
          <p:grpSpPr bwMode="auto">
            <a:xfrm>
              <a:off x="9374212" y="6574531"/>
              <a:ext cx="2147228" cy="182883"/>
              <a:chOff x="9378677" y="6574531"/>
              <a:chExt cx="2147228" cy="182883"/>
            </a:xfrm>
          </p:grpSpPr>
          <p:sp>
            <p:nvSpPr>
              <p:cNvPr id="7"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8"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31 October 2018</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9"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6"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0"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85058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Picture Placeholder 9"/>
          <p:cNvSpPr>
            <a:spLocks noGrp="1"/>
          </p:cNvSpPr>
          <p:nvPr>
            <p:ph type="pic" sz="quarter" idx="21"/>
          </p:nvPr>
        </p:nvSpPr>
        <p:spPr>
          <a:xfrm>
            <a:off x="4178340" y="379413"/>
            <a:ext cx="3800450" cy="2935224"/>
          </a:xfrm>
          <a:solidFill>
            <a:schemeClr val="bg1">
              <a:lumMod val="85000"/>
            </a:schemeClr>
          </a:solidFill>
        </p:spPr>
        <p:txBody>
          <a:bodyPr lIns="0" rIns="0"/>
          <a:lstStyle/>
          <a:p>
            <a:r>
              <a:rPr lang="en-US" dirty="0"/>
              <a:t>Click icon to add picture</a:t>
            </a:r>
            <a:endParaRPr lang="en-GB" dirty="0"/>
          </a:p>
        </p:txBody>
      </p:sp>
      <p:sp>
        <p:nvSpPr>
          <p:cNvPr id="23" name="Picture Placeholder 9"/>
          <p:cNvSpPr>
            <a:spLocks noGrp="1"/>
          </p:cNvSpPr>
          <p:nvPr>
            <p:ph type="pic" sz="quarter" idx="22"/>
          </p:nvPr>
        </p:nvSpPr>
        <p:spPr>
          <a:xfrm>
            <a:off x="7978790" y="379413"/>
            <a:ext cx="3825860" cy="2935224"/>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4178340" y="3314637"/>
            <a:ext cx="380044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7978788" y="3314637"/>
            <a:ext cx="3825861"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4" name="TextBox 1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5" name="Group 22"/>
          <p:cNvGrpSpPr>
            <a:grpSpLocks/>
          </p:cNvGrpSpPr>
          <p:nvPr userDrawn="1"/>
        </p:nvGrpSpPr>
        <p:grpSpPr bwMode="auto">
          <a:xfrm>
            <a:off x="-264086" y="6596401"/>
            <a:ext cx="2147228" cy="184155"/>
            <a:chOff x="9374212" y="6574531"/>
            <a:chExt cx="2147228" cy="182885"/>
          </a:xfrm>
        </p:grpSpPr>
        <p:grpSp>
          <p:nvGrpSpPr>
            <p:cNvPr id="16" name="Group 8"/>
            <p:cNvGrpSpPr>
              <a:grpSpLocks/>
            </p:cNvGrpSpPr>
            <p:nvPr/>
          </p:nvGrpSpPr>
          <p:grpSpPr bwMode="auto">
            <a:xfrm>
              <a:off x="9374212" y="6574531"/>
              <a:ext cx="2147228" cy="182883"/>
              <a:chOff x="9378677" y="6574531"/>
              <a:chExt cx="2147228" cy="182883"/>
            </a:xfrm>
          </p:grpSpPr>
          <p:sp>
            <p:nvSpPr>
              <p:cNvPr id="1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036531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3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9"/>
          <p:cNvSpPr>
            <a:spLocks noGrp="1"/>
          </p:cNvSpPr>
          <p:nvPr>
            <p:ph type="pic" sz="quarter" idx="22"/>
          </p:nvPr>
        </p:nvSpPr>
        <p:spPr>
          <a:xfrm>
            <a:off x="4178340" y="379413"/>
            <a:ext cx="3821690" cy="2938526"/>
          </a:xfrm>
          <a:solidFill>
            <a:schemeClr val="bg1">
              <a:lumMod val="85000"/>
            </a:schemeClr>
          </a:solidFill>
        </p:spPr>
        <p:txBody>
          <a:bodyPr lIns="0" rIns="0"/>
          <a:lstStyle/>
          <a:p>
            <a:r>
              <a:rPr lang="en-US" dirty="0"/>
              <a:t>Click icon to add picture</a:t>
            </a:r>
            <a:endParaRPr lang="en-GB" dirty="0"/>
          </a:p>
        </p:txBody>
      </p:sp>
      <p:sp>
        <p:nvSpPr>
          <p:cNvPr id="24" name="Picture Placeholder 9"/>
          <p:cNvSpPr>
            <a:spLocks noGrp="1"/>
          </p:cNvSpPr>
          <p:nvPr>
            <p:ph type="pic" sz="quarter" idx="23"/>
          </p:nvPr>
        </p:nvSpPr>
        <p:spPr>
          <a:xfrm>
            <a:off x="8005720" y="379413"/>
            <a:ext cx="3798929" cy="2938526"/>
          </a:xfrm>
          <a:solidFill>
            <a:schemeClr val="bg1">
              <a:lumMod val="85000"/>
            </a:schemeClr>
          </a:solidFill>
        </p:spPr>
        <p:txBody>
          <a:bodyPr lIns="0" rIns="0"/>
          <a:lstStyle/>
          <a:p>
            <a:r>
              <a:rPr lang="en-US" dirty="0"/>
              <a:t>Click icon to add picture</a:t>
            </a:r>
            <a:endParaRPr lang="en-GB" dirty="0"/>
          </a:p>
        </p:txBody>
      </p:sp>
      <p:sp>
        <p:nvSpPr>
          <p:cNvPr id="25" name="Picture Placeholder 9"/>
          <p:cNvSpPr>
            <a:spLocks noGrp="1"/>
          </p:cNvSpPr>
          <p:nvPr>
            <p:ph type="pic" sz="quarter" idx="24"/>
          </p:nvPr>
        </p:nvSpPr>
        <p:spPr>
          <a:xfrm>
            <a:off x="4178340" y="3314637"/>
            <a:ext cx="2538579" cy="2938526"/>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5"/>
          </p:nvPr>
        </p:nvSpPr>
        <p:spPr>
          <a:xfrm>
            <a:off x="6716918" y="3314637"/>
            <a:ext cx="2516935" cy="2938526"/>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6"/>
          </p:nvPr>
        </p:nvSpPr>
        <p:spPr>
          <a:xfrm>
            <a:off x="9247520" y="3314637"/>
            <a:ext cx="2557130" cy="2938526"/>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5" name="TextBox 1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767367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4_10PT Content and Two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Picture Placeholder 9"/>
          <p:cNvSpPr>
            <a:spLocks noGrp="1"/>
          </p:cNvSpPr>
          <p:nvPr>
            <p:ph type="pic" sz="quarter" idx="25"/>
          </p:nvPr>
        </p:nvSpPr>
        <p:spPr>
          <a:xfrm>
            <a:off x="4178340" y="379413"/>
            <a:ext cx="2538579" cy="2935224"/>
          </a:xfrm>
          <a:solidFill>
            <a:schemeClr val="bg1">
              <a:lumMod val="85000"/>
            </a:schemeClr>
          </a:solidFill>
        </p:spPr>
        <p:txBody>
          <a:bodyPr lIns="0" rIns="0"/>
          <a:lstStyle/>
          <a:p>
            <a:r>
              <a:rPr lang="en-US" dirty="0"/>
              <a:t>Click icon to add picture</a:t>
            </a:r>
            <a:endParaRPr lang="en-GB" dirty="0"/>
          </a:p>
        </p:txBody>
      </p:sp>
      <p:sp>
        <p:nvSpPr>
          <p:cNvPr id="26" name="Picture Placeholder 9"/>
          <p:cNvSpPr>
            <a:spLocks noGrp="1"/>
          </p:cNvSpPr>
          <p:nvPr>
            <p:ph type="pic" sz="quarter" idx="26"/>
          </p:nvPr>
        </p:nvSpPr>
        <p:spPr>
          <a:xfrm>
            <a:off x="6716918" y="379413"/>
            <a:ext cx="2533915" cy="2928620"/>
          </a:xfrm>
          <a:solidFill>
            <a:schemeClr val="bg1">
              <a:lumMod val="85000"/>
            </a:schemeClr>
          </a:solidFill>
        </p:spPr>
        <p:txBody>
          <a:bodyPr lIns="0" rIns="0"/>
          <a:lstStyle/>
          <a:p>
            <a:r>
              <a:rPr lang="en-US" dirty="0"/>
              <a:t>Click icon to add picture</a:t>
            </a:r>
            <a:endParaRPr lang="en-GB" dirty="0"/>
          </a:p>
        </p:txBody>
      </p:sp>
      <p:sp>
        <p:nvSpPr>
          <p:cNvPr id="27" name="Picture Placeholder 9"/>
          <p:cNvSpPr>
            <a:spLocks noGrp="1"/>
          </p:cNvSpPr>
          <p:nvPr>
            <p:ph type="pic" sz="quarter" idx="27"/>
          </p:nvPr>
        </p:nvSpPr>
        <p:spPr>
          <a:xfrm>
            <a:off x="9254144" y="379413"/>
            <a:ext cx="2550505" cy="2935224"/>
          </a:xfrm>
          <a:solidFill>
            <a:schemeClr val="bg1">
              <a:lumMod val="85000"/>
            </a:schemeClr>
          </a:solidFill>
        </p:spPr>
        <p:txBody>
          <a:bodyPr lIns="0" rIns="0"/>
          <a:lstStyle/>
          <a:p>
            <a:r>
              <a:rPr lang="en-US" dirty="0"/>
              <a:t>Click icon to add picture</a:t>
            </a:r>
            <a:endParaRPr lang="en-GB" dirty="0"/>
          </a:p>
        </p:txBody>
      </p:sp>
      <p:sp>
        <p:nvSpPr>
          <p:cNvPr id="28" name="Picture Placeholder 9"/>
          <p:cNvSpPr>
            <a:spLocks noGrp="1"/>
          </p:cNvSpPr>
          <p:nvPr>
            <p:ph type="pic" sz="quarter" idx="28"/>
          </p:nvPr>
        </p:nvSpPr>
        <p:spPr>
          <a:xfrm>
            <a:off x="4178340" y="3308033"/>
            <a:ext cx="2538579" cy="2935224"/>
          </a:xfrm>
          <a:solidFill>
            <a:schemeClr val="bg1">
              <a:lumMod val="85000"/>
            </a:schemeClr>
          </a:solidFill>
        </p:spPr>
        <p:txBody>
          <a:bodyPr lIns="0" rIns="0"/>
          <a:lstStyle/>
          <a:p>
            <a:r>
              <a:rPr lang="en-US" dirty="0"/>
              <a:t>Click icon to add picture</a:t>
            </a:r>
            <a:endParaRPr lang="en-GB" dirty="0"/>
          </a:p>
        </p:txBody>
      </p:sp>
      <p:sp>
        <p:nvSpPr>
          <p:cNvPr id="29" name="Picture Placeholder 9"/>
          <p:cNvSpPr>
            <a:spLocks noGrp="1"/>
          </p:cNvSpPr>
          <p:nvPr>
            <p:ph type="pic" sz="quarter" idx="29"/>
          </p:nvPr>
        </p:nvSpPr>
        <p:spPr>
          <a:xfrm>
            <a:off x="6716918" y="3308033"/>
            <a:ext cx="2533915" cy="2928620"/>
          </a:xfrm>
          <a:solidFill>
            <a:schemeClr val="bg1">
              <a:lumMod val="85000"/>
            </a:schemeClr>
          </a:solidFill>
        </p:spPr>
        <p:txBody>
          <a:bodyPr lIns="0" rIns="0"/>
          <a:lstStyle/>
          <a:p>
            <a:r>
              <a:rPr lang="en-US" dirty="0"/>
              <a:t>Click icon to add picture</a:t>
            </a:r>
            <a:endParaRPr lang="en-GB" dirty="0"/>
          </a:p>
        </p:txBody>
      </p:sp>
      <p:sp>
        <p:nvSpPr>
          <p:cNvPr id="30" name="Picture Placeholder 9"/>
          <p:cNvSpPr>
            <a:spLocks noGrp="1"/>
          </p:cNvSpPr>
          <p:nvPr>
            <p:ph type="pic" sz="quarter" idx="30"/>
          </p:nvPr>
        </p:nvSpPr>
        <p:spPr>
          <a:xfrm>
            <a:off x="9254144" y="3308033"/>
            <a:ext cx="2550505" cy="2935224"/>
          </a:xfrm>
          <a:solidFill>
            <a:schemeClr val="bg1">
              <a:lumMod val="85000"/>
            </a:schemeClr>
          </a:solidFill>
        </p:spPr>
        <p:txBody>
          <a:bodyPr lIns="0" rIns="0"/>
          <a:lstStyle/>
          <a:p>
            <a:r>
              <a:rPr lang="en-US" dirty="0"/>
              <a:t>Click icon to add picture</a:t>
            </a:r>
            <a:endParaRPr lang="en-GB" dirty="0"/>
          </a:p>
        </p:txBody>
      </p:sp>
      <p:sp>
        <p:nvSpPr>
          <p:cNvPr id="4" name="Title 3"/>
          <p:cNvSpPr>
            <a:spLocks noGrp="1"/>
          </p:cNvSpPr>
          <p:nvPr>
            <p:ph type="title"/>
          </p:nvPr>
        </p:nvSpPr>
        <p:spPr>
          <a:xfrm>
            <a:off x="379413" y="379413"/>
            <a:ext cx="3816000" cy="1012825"/>
          </a:xfrm>
        </p:spPr>
        <p:txBody>
          <a:bodyPr/>
          <a:lstStyle/>
          <a:p>
            <a:r>
              <a:rPr lang="en-US" dirty="0"/>
              <a:t>Click to edit Master title style</a:t>
            </a:r>
            <a:endParaRPr lang="en-GB" dirty="0"/>
          </a:p>
        </p:txBody>
      </p:sp>
      <p:sp>
        <p:nvSpPr>
          <p:cNvPr id="5" name="Content Placeholder 4"/>
          <p:cNvSpPr>
            <a:spLocks noGrp="1"/>
          </p:cNvSpPr>
          <p:nvPr>
            <p:ph sz="quarter" idx="13"/>
          </p:nvPr>
        </p:nvSpPr>
        <p:spPr>
          <a:xfrm>
            <a:off x="379412" y="1392238"/>
            <a:ext cx="3816000" cy="4860925"/>
          </a:xfrm>
        </p:spPr>
        <p:txBody>
          <a:bodyPr/>
          <a:lstStyle>
            <a:lvl1pPr>
              <a:defRPr sz="2000"/>
            </a:lvl1pPr>
            <a:lvl2pPr marL="92075" indent="-92075">
              <a:defRPr sz="2000"/>
            </a:lvl2pPr>
            <a:lvl3pPr marL="182563" indent="-90488">
              <a:defRPr sz="2000"/>
            </a:lvl3pPr>
            <a:lvl4pPr marL="266700" indent="-84138">
              <a:defRPr sz="2000"/>
            </a:lvl4pPr>
            <a:lvl5pPr marL="357188" indent="-90488">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17" name="TextBox 1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a:solidFill>
                <a:prstClr val="black"/>
              </a:solidFill>
            </a:endParaRPr>
          </a:p>
        </p:txBody>
      </p:sp>
      <p:grpSp>
        <p:nvGrpSpPr>
          <p:cNvPr id="18" name="Group 22"/>
          <p:cNvGrpSpPr>
            <a:grpSpLocks/>
          </p:cNvGrpSpPr>
          <p:nvPr userDrawn="1"/>
        </p:nvGrpSpPr>
        <p:grpSpPr bwMode="auto">
          <a:xfrm>
            <a:off x="-264086" y="6596401"/>
            <a:ext cx="2147228" cy="184155"/>
            <a:chOff x="9374212" y="6574531"/>
            <a:chExt cx="2147228" cy="182885"/>
          </a:xfrm>
        </p:grpSpPr>
        <p:grpSp>
          <p:nvGrpSpPr>
            <p:cNvPr id="19" name="Group 8"/>
            <p:cNvGrpSpPr>
              <a:grpSpLocks/>
            </p:cNvGrpSpPr>
            <p:nvPr/>
          </p:nvGrpSpPr>
          <p:grpSpPr bwMode="auto">
            <a:xfrm>
              <a:off x="9374212" y="6574531"/>
              <a:ext cx="2147228" cy="182883"/>
              <a:chOff x="9378677" y="6574531"/>
              <a:chExt cx="2147228" cy="182883"/>
            </a:xfrm>
          </p:grpSpPr>
          <p:sp>
            <p:nvSpPr>
              <p:cNvPr id="2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defTabSz="912813" fontAlgn="base">
                  <a:spcBef>
                    <a:spcPct val="0"/>
                  </a:spcBef>
                  <a:spcAft>
                    <a:spcPct val="0"/>
                  </a:spcAft>
                  <a:defRPr/>
                </a:pPr>
                <a:endParaRPr lang="en-US" sz="800" kern="0" dirty="0">
                  <a:solidFill>
                    <a:prstClr val="black"/>
                  </a:solidFill>
                  <a:ea typeface="ＭＳ Ｐゴシック" charset="0"/>
                  <a:cs typeface="3M Circular TT Book" panose="020B0604020101020102" pitchFamily="34" charset="0"/>
                </a:endParaRPr>
              </a:p>
            </p:txBody>
          </p:sp>
        </p:grpSp>
        <p:sp>
          <p:nvSpPr>
            <p:cNvPr id="2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653226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Option 1">
    <p:spTree>
      <p:nvGrpSpPr>
        <p:cNvPr id="1" name=""/>
        <p:cNvGrpSpPr/>
        <p:nvPr/>
      </p:nvGrpSpPr>
      <p:grpSpPr>
        <a:xfrm>
          <a:off x="0" y="0"/>
          <a:ext cx="0" cy="0"/>
          <a:chOff x="0" y="0"/>
          <a:chExt cx="0" cy="0"/>
        </a:xfrm>
      </p:grpSpPr>
      <p:sp>
        <p:nvSpPr>
          <p:cNvPr id="39" name="Rectangle 38"/>
          <p:cNvSpPr/>
          <p:nvPr userDrawn="1"/>
        </p:nvSpPr>
        <p:spPr>
          <a:xfrm>
            <a:off x="3532" y="33077"/>
            <a:ext cx="12185420" cy="6829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6" name="Freeform 5"/>
          <p:cNvSpPr/>
          <p:nvPr/>
        </p:nvSpPr>
        <p:spPr>
          <a:xfrm>
            <a:off x="0" y="3602940"/>
            <a:ext cx="3586808" cy="3259673"/>
          </a:xfrm>
          <a:custGeom>
            <a:avLst/>
            <a:gdLst>
              <a:gd name="connsiteX0" fmla="*/ 1392248 w 3580909"/>
              <a:gd name="connsiteY0" fmla="*/ 0 h 3209249"/>
              <a:gd name="connsiteX1" fmla="*/ 0 w 3580909"/>
              <a:gd name="connsiteY1" fmla="*/ 3209249 h 3209249"/>
              <a:gd name="connsiteX2" fmla="*/ 3580909 w 3580909"/>
              <a:gd name="connsiteY2" fmla="*/ 1215267 h 3209249"/>
              <a:gd name="connsiteX3" fmla="*/ 1392248 w 3580909"/>
              <a:gd name="connsiteY3" fmla="*/ 0 h 3209249"/>
              <a:gd name="connsiteX0" fmla="*/ 1406371 w 3595032"/>
              <a:gd name="connsiteY0" fmla="*/ 0 h 3209249"/>
              <a:gd name="connsiteX1" fmla="*/ 0 w 3595032"/>
              <a:gd name="connsiteY1" fmla="*/ 3209249 h 3209249"/>
              <a:gd name="connsiteX2" fmla="*/ 3595032 w 3595032"/>
              <a:gd name="connsiteY2" fmla="*/ 1215267 h 3209249"/>
              <a:gd name="connsiteX3" fmla="*/ 1406371 w 3595032"/>
              <a:gd name="connsiteY3" fmla="*/ 0 h 3209249"/>
              <a:gd name="connsiteX0" fmla="*/ 1399310 w 3587971"/>
              <a:gd name="connsiteY0" fmla="*/ 0 h 3209249"/>
              <a:gd name="connsiteX1" fmla="*/ 0 w 3587971"/>
              <a:gd name="connsiteY1" fmla="*/ 3209249 h 3209249"/>
              <a:gd name="connsiteX2" fmla="*/ 3587971 w 3587971"/>
              <a:gd name="connsiteY2" fmla="*/ 1215267 h 3209249"/>
              <a:gd name="connsiteX3" fmla="*/ 1399310 w 3587971"/>
              <a:gd name="connsiteY3" fmla="*/ 0 h 3209249"/>
              <a:gd name="connsiteX0" fmla="*/ 1399310 w 3587971"/>
              <a:gd name="connsiteY0" fmla="*/ 0 h 3252111"/>
              <a:gd name="connsiteX1" fmla="*/ 0 w 3587971"/>
              <a:gd name="connsiteY1" fmla="*/ 3252111 h 3252111"/>
              <a:gd name="connsiteX2" fmla="*/ 3587971 w 3587971"/>
              <a:gd name="connsiteY2" fmla="*/ 1258129 h 3252111"/>
              <a:gd name="connsiteX3" fmla="*/ 1399310 w 3587971"/>
              <a:gd name="connsiteY3" fmla="*/ 0 h 3252111"/>
              <a:gd name="connsiteX0" fmla="*/ 1396734 w 3585395"/>
              <a:gd name="connsiteY0" fmla="*/ 0 h 3264990"/>
              <a:gd name="connsiteX1" fmla="*/ 0 w 3585395"/>
              <a:gd name="connsiteY1" fmla="*/ 3264990 h 3264990"/>
              <a:gd name="connsiteX2" fmla="*/ 3585395 w 3585395"/>
              <a:gd name="connsiteY2" fmla="*/ 1258129 h 3264990"/>
              <a:gd name="connsiteX3" fmla="*/ 1396734 w 3585395"/>
              <a:gd name="connsiteY3" fmla="*/ 0 h 3264990"/>
              <a:gd name="connsiteX0" fmla="*/ 1404461 w 3593122"/>
              <a:gd name="connsiteY0" fmla="*/ 0 h 3267566"/>
              <a:gd name="connsiteX1" fmla="*/ 0 w 3593122"/>
              <a:gd name="connsiteY1" fmla="*/ 3267566 h 3267566"/>
              <a:gd name="connsiteX2" fmla="*/ 3593122 w 3593122"/>
              <a:gd name="connsiteY2" fmla="*/ 1258129 h 3267566"/>
              <a:gd name="connsiteX3" fmla="*/ 1404461 w 3593122"/>
              <a:gd name="connsiteY3" fmla="*/ 0 h 3267566"/>
            </a:gdLst>
            <a:ahLst/>
            <a:cxnLst>
              <a:cxn ang="0">
                <a:pos x="connsiteX0" y="connsiteY0"/>
              </a:cxn>
              <a:cxn ang="0">
                <a:pos x="connsiteX1" y="connsiteY1"/>
              </a:cxn>
              <a:cxn ang="0">
                <a:pos x="connsiteX2" y="connsiteY2"/>
              </a:cxn>
              <a:cxn ang="0">
                <a:pos x="connsiteX3" y="connsiteY3"/>
              </a:cxn>
            </a:cxnLst>
            <a:rect l="l" t="t" r="r" b="b"/>
            <a:pathLst>
              <a:path w="3593122" h="3267566">
                <a:moveTo>
                  <a:pt x="1404461" y="0"/>
                </a:moveTo>
                <a:lnTo>
                  <a:pt x="0" y="3267566"/>
                </a:lnTo>
                <a:lnTo>
                  <a:pt x="3593122" y="1258129"/>
                </a:lnTo>
                <a:lnTo>
                  <a:pt x="1404461" y="0"/>
                </a:lnTo>
                <a:close/>
              </a:path>
            </a:pathLst>
          </a:custGeom>
          <a:gradFill>
            <a:gsLst>
              <a:gs pos="15000">
                <a:schemeClr val="accent2"/>
              </a:gs>
              <a:gs pos="100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7" name="Freeform 6"/>
          <p:cNvSpPr/>
          <p:nvPr/>
        </p:nvSpPr>
        <p:spPr>
          <a:xfrm>
            <a:off x="1390330" y="1741468"/>
            <a:ext cx="2199979" cy="3164694"/>
          </a:xfrm>
          <a:custGeom>
            <a:avLst/>
            <a:gdLst>
              <a:gd name="connsiteX0" fmla="*/ 1739462 w 2186152"/>
              <a:gd name="connsiteY0" fmla="*/ 0 h 3095296"/>
              <a:gd name="connsiteX1" fmla="*/ 0 w 2186152"/>
              <a:gd name="connsiteY1" fmla="*/ 1891862 h 3095296"/>
              <a:gd name="connsiteX2" fmla="*/ 2186152 w 2186152"/>
              <a:gd name="connsiteY2" fmla="*/ 3095296 h 3095296"/>
              <a:gd name="connsiteX3" fmla="*/ 1739462 w 2186152"/>
              <a:gd name="connsiteY3" fmla="*/ 0 h 3095296"/>
              <a:gd name="connsiteX0" fmla="*/ 1733563 w 2186152"/>
              <a:gd name="connsiteY0" fmla="*/ 0 h 3112994"/>
              <a:gd name="connsiteX1" fmla="*/ 0 w 2186152"/>
              <a:gd name="connsiteY1" fmla="*/ 1909560 h 3112994"/>
              <a:gd name="connsiteX2" fmla="*/ 2186152 w 2186152"/>
              <a:gd name="connsiteY2" fmla="*/ 3112994 h 3112994"/>
              <a:gd name="connsiteX3" fmla="*/ 1733563 w 2186152"/>
              <a:gd name="connsiteY3" fmla="*/ 0 h 3112994"/>
              <a:gd name="connsiteX0" fmla="*/ 1752613 w 2186152"/>
              <a:gd name="connsiteY0" fmla="*/ 0 h 3108232"/>
              <a:gd name="connsiteX1" fmla="*/ 0 w 2186152"/>
              <a:gd name="connsiteY1" fmla="*/ 1904798 h 3108232"/>
              <a:gd name="connsiteX2" fmla="*/ 2186152 w 2186152"/>
              <a:gd name="connsiteY2" fmla="*/ 3108232 h 3108232"/>
              <a:gd name="connsiteX3" fmla="*/ 1752613 w 2186152"/>
              <a:gd name="connsiteY3" fmla="*/ 0 h 3108232"/>
              <a:gd name="connsiteX0" fmla="*/ 1738326 w 2186152"/>
              <a:gd name="connsiteY0" fmla="*/ 0 h 3108232"/>
              <a:gd name="connsiteX1" fmla="*/ 0 w 2186152"/>
              <a:gd name="connsiteY1" fmla="*/ 1904798 h 3108232"/>
              <a:gd name="connsiteX2" fmla="*/ 2186152 w 2186152"/>
              <a:gd name="connsiteY2" fmla="*/ 3108232 h 3108232"/>
              <a:gd name="connsiteX3" fmla="*/ 1738326 w 2186152"/>
              <a:gd name="connsiteY3" fmla="*/ 0 h 3108232"/>
              <a:gd name="connsiteX0" fmla="*/ 1724039 w 2186152"/>
              <a:gd name="connsiteY0" fmla="*/ 0 h 3089182"/>
              <a:gd name="connsiteX1" fmla="*/ 0 w 2186152"/>
              <a:gd name="connsiteY1" fmla="*/ 1885748 h 3089182"/>
              <a:gd name="connsiteX2" fmla="*/ 2186152 w 2186152"/>
              <a:gd name="connsiteY2" fmla="*/ 3089182 h 3089182"/>
              <a:gd name="connsiteX3" fmla="*/ 1724039 w 2186152"/>
              <a:gd name="connsiteY3" fmla="*/ 0 h 3089182"/>
              <a:gd name="connsiteX0" fmla="*/ 1743089 w 2205202"/>
              <a:gd name="connsiteY0" fmla="*/ 0 h 3089182"/>
              <a:gd name="connsiteX1" fmla="*/ 0 w 2205202"/>
              <a:gd name="connsiteY1" fmla="*/ 1861935 h 3089182"/>
              <a:gd name="connsiteX2" fmla="*/ 2205202 w 2205202"/>
              <a:gd name="connsiteY2" fmla="*/ 3089182 h 3089182"/>
              <a:gd name="connsiteX3" fmla="*/ 1743089 w 2205202"/>
              <a:gd name="connsiteY3" fmla="*/ 0 h 3089182"/>
              <a:gd name="connsiteX0" fmla="*/ 1733564 w 2205202"/>
              <a:gd name="connsiteY0" fmla="*/ 0 h 3079657"/>
              <a:gd name="connsiteX1" fmla="*/ 0 w 2205202"/>
              <a:gd name="connsiteY1" fmla="*/ 1852410 h 3079657"/>
              <a:gd name="connsiteX2" fmla="*/ 2205202 w 2205202"/>
              <a:gd name="connsiteY2" fmla="*/ 3079657 h 3079657"/>
              <a:gd name="connsiteX3" fmla="*/ 1733564 w 2205202"/>
              <a:gd name="connsiteY3" fmla="*/ 0 h 3079657"/>
              <a:gd name="connsiteX0" fmla="*/ 1695464 w 2167102"/>
              <a:gd name="connsiteY0" fmla="*/ 0 h 3079657"/>
              <a:gd name="connsiteX1" fmla="*/ 0 w 2167102"/>
              <a:gd name="connsiteY1" fmla="*/ 1871460 h 3079657"/>
              <a:gd name="connsiteX2" fmla="*/ 2167102 w 2167102"/>
              <a:gd name="connsiteY2" fmla="*/ 3079657 h 3079657"/>
              <a:gd name="connsiteX3" fmla="*/ 1695464 w 2167102"/>
              <a:gd name="connsiteY3" fmla="*/ 0 h 3079657"/>
              <a:gd name="connsiteX0" fmla="*/ 1724039 w 2195677"/>
              <a:gd name="connsiteY0" fmla="*/ 0 h 3079657"/>
              <a:gd name="connsiteX1" fmla="*/ 0 w 2195677"/>
              <a:gd name="connsiteY1" fmla="*/ 1866698 h 3079657"/>
              <a:gd name="connsiteX2" fmla="*/ 2195677 w 2195677"/>
              <a:gd name="connsiteY2" fmla="*/ 3079657 h 3079657"/>
              <a:gd name="connsiteX3" fmla="*/ 1724039 w 2195677"/>
              <a:gd name="connsiteY3" fmla="*/ 0 h 3079657"/>
              <a:gd name="connsiteX0" fmla="*/ 1746073 w 2195677"/>
              <a:gd name="connsiteY0" fmla="*/ 0 h 3079657"/>
              <a:gd name="connsiteX1" fmla="*/ 0 w 2195677"/>
              <a:gd name="connsiteY1" fmla="*/ 1866698 h 3079657"/>
              <a:gd name="connsiteX2" fmla="*/ 2195677 w 2195677"/>
              <a:gd name="connsiteY2" fmla="*/ 3079657 h 3079657"/>
              <a:gd name="connsiteX3" fmla="*/ 1746073 w 2195677"/>
              <a:gd name="connsiteY3" fmla="*/ 0 h 3079657"/>
              <a:gd name="connsiteX0" fmla="*/ 1714323 w 2195677"/>
              <a:gd name="connsiteY0" fmla="*/ 0 h 3098707"/>
              <a:gd name="connsiteX1" fmla="*/ 0 w 2195677"/>
              <a:gd name="connsiteY1" fmla="*/ 1885748 h 3098707"/>
              <a:gd name="connsiteX2" fmla="*/ 2195677 w 2195677"/>
              <a:gd name="connsiteY2" fmla="*/ 3098707 h 3098707"/>
              <a:gd name="connsiteX3" fmla="*/ 1714323 w 2195677"/>
              <a:gd name="connsiteY3" fmla="*/ 0 h 3098707"/>
              <a:gd name="connsiteX0" fmla="*/ 1720673 w 2195677"/>
              <a:gd name="connsiteY0" fmla="*/ 0 h 3092357"/>
              <a:gd name="connsiteX1" fmla="*/ 0 w 2195677"/>
              <a:gd name="connsiteY1" fmla="*/ 1879398 h 3092357"/>
              <a:gd name="connsiteX2" fmla="*/ 2195677 w 2195677"/>
              <a:gd name="connsiteY2" fmla="*/ 3092357 h 3092357"/>
              <a:gd name="connsiteX3" fmla="*/ 1720673 w 2195677"/>
              <a:gd name="connsiteY3" fmla="*/ 0 h 3092357"/>
              <a:gd name="connsiteX0" fmla="*/ 1739723 w 2195677"/>
              <a:gd name="connsiteY0" fmla="*/ 0 h 3086007"/>
              <a:gd name="connsiteX1" fmla="*/ 0 w 2195677"/>
              <a:gd name="connsiteY1" fmla="*/ 1873048 h 3086007"/>
              <a:gd name="connsiteX2" fmla="*/ 2195677 w 2195677"/>
              <a:gd name="connsiteY2" fmla="*/ 3086007 h 3086007"/>
              <a:gd name="connsiteX3" fmla="*/ 1739723 w 2195677"/>
              <a:gd name="connsiteY3" fmla="*/ 0 h 3086007"/>
              <a:gd name="connsiteX0" fmla="*/ 1720673 w 2195677"/>
              <a:gd name="connsiteY0" fmla="*/ 0 h 3155857"/>
              <a:gd name="connsiteX1" fmla="*/ 0 w 2195677"/>
              <a:gd name="connsiteY1" fmla="*/ 1942898 h 3155857"/>
              <a:gd name="connsiteX2" fmla="*/ 2195677 w 2195677"/>
              <a:gd name="connsiteY2" fmla="*/ 3155857 h 3155857"/>
              <a:gd name="connsiteX3" fmla="*/ 1720673 w 2195677"/>
              <a:gd name="connsiteY3" fmla="*/ 0 h 3155857"/>
              <a:gd name="connsiteX0" fmla="*/ 1720673 w 2195677"/>
              <a:gd name="connsiteY0" fmla="*/ 0 h 3079657"/>
              <a:gd name="connsiteX1" fmla="*/ 0 w 2195677"/>
              <a:gd name="connsiteY1" fmla="*/ 1866698 h 3079657"/>
              <a:gd name="connsiteX2" fmla="*/ 2195677 w 2195677"/>
              <a:gd name="connsiteY2" fmla="*/ 3079657 h 3079657"/>
              <a:gd name="connsiteX3" fmla="*/ 1720673 w 2195677"/>
              <a:gd name="connsiteY3" fmla="*/ 0 h 3079657"/>
              <a:gd name="connsiteX0" fmla="*/ 1720673 w 2195677"/>
              <a:gd name="connsiteY0" fmla="*/ 0 h 3149507"/>
              <a:gd name="connsiteX1" fmla="*/ 0 w 2195677"/>
              <a:gd name="connsiteY1" fmla="*/ 1936548 h 3149507"/>
              <a:gd name="connsiteX2" fmla="*/ 2195677 w 2195677"/>
              <a:gd name="connsiteY2" fmla="*/ 3149507 h 3149507"/>
              <a:gd name="connsiteX3" fmla="*/ 1720673 w 219567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24975 w 2199979"/>
              <a:gd name="connsiteY0" fmla="*/ 0 h 3149507"/>
              <a:gd name="connsiteX1" fmla="*/ 0 w 2199979"/>
              <a:gd name="connsiteY1" fmla="*/ 1921800 h 3149507"/>
              <a:gd name="connsiteX2" fmla="*/ 2199979 w 2199979"/>
              <a:gd name="connsiteY2" fmla="*/ 3149507 h 3149507"/>
              <a:gd name="connsiteX3" fmla="*/ 1724975 w 2199979"/>
              <a:gd name="connsiteY3" fmla="*/ 0 h 3149507"/>
              <a:gd name="connsiteX0" fmla="*/ 1722399 w 2199979"/>
              <a:gd name="connsiteY0" fmla="*/ 0 h 3072234"/>
              <a:gd name="connsiteX1" fmla="*/ 0 w 2199979"/>
              <a:gd name="connsiteY1" fmla="*/ 1844527 h 3072234"/>
              <a:gd name="connsiteX2" fmla="*/ 2199979 w 2199979"/>
              <a:gd name="connsiteY2" fmla="*/ 3072234 h 3072234"/>
              <a:gd name="connsiteX3" fmla="*/ 1722399 w 2199979"/>
              <a:gd name="connsiteY3" fmla="*/ 0 h 3072234"/>
              <a:gd name="connsiteX0" fmla="*/ 1722399 w 2199979"/>
              <a:gd name="connsiteY0" fmla="*/ 0 h 3123750"/>
              <a:gd name="connsiteX1" fmla="*/ 0 w 2199979"/>
              <a:gd name="connsiteY1" fmla="*/ 1896043 h 3123750"/>
              <a:gd name="connsiteX2" fmla="*/ 2199979 w 2199979"/>
              <a:gd name="connsiteY2" fmla="*/ 3123750 h 3123750"/>
              <a:gd name="connsiteX3" fmla="*/ 1722399 w 2199979"/>
              <a:gd name="connsiteY3" fmla="*/ 0 h 3123750"/>
              <a:gd name="connsiteX0" fmla="*/ 1736047 w 2199979"/>
              <a:gd name="connsiteY0" fmla="*/ 0 h 3164694"/>
              <a:gd name="connsiteX1" fmla="*/ 0 w 2199979"/>
              <a:gd name="connsiteY1" fmla="*/ 1936987 h 3164694"/>
              <a:gd name="connsiteX2" fmla="*/ 2199979 w 2199979"/>
              <a:gd name="connsiteY2" fmla="*/ 3164694 h 3164694"/>
              <a:gd name="connsiteX3" fmla="*/ 1736047 w 2199979"/>
              <a:gd name="connsiteY3" fmla="*/ 0 h 3164694"/>
            </a:gdLst>
            <a:ahLst/>
            <a:cxnLst>
              <a:cxn ang="0">
                <a:pos x="connsiteX0" y="connsiteY0"/>
              </a:cxn>
              <a:cxn ang="0">
                <a:pos x="connsiteX1" y="connsiteY1"/>
              </a:cxn>
              <a:cxn ang="0">
                <a:pos x="connsiteX2" y="connsiteY2"/>
              </a:cxn>
              <a:cxn ang="0">
                <a:pos x="connsiteX3" y="connsiteY3"/>
              </a:cxn>
            </a:cxnLst>
            <a:rect l="l" t="t" r="r" b="b"/>
            <a:pathLst>
              <a:path w="2199979" h="3164694">
                <a:moveTo>
                  <a:pt x="1736047" y="0"/>
                </a:moveTo>
                <a:lnTo>
                  <a:pt x="0" y="1936987"/>
                </a:lnTo>
                <a:lnTo>
                  <a:pt x="2199979" y="3164694"/>
                </a:lnTo>
                <a:lnTo>
                  <a:pt x="1736047" y="0"/>
                </a:lnTo>
                <a:close/>
              </a:path>
            </a:pathLst>
          </a:custGeom>
          <a:gradFill>
            <a:gsLst>
              <a:gs pos="15000">
                <a:schemeClr val="accent2"/>
              </a:gs>
              <a:gs pos="100000">
                <a:schemeClr val="accent1"/>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8" name="Freeform 7"/>
          <p:cNvSpPr/>
          <p:nvPr/>
        </p:nvSpPr>
        <p:spPr>
          <a:xfrm>
            <a:off x="6375805" y="1"/>
            <a:ext cx="4644129" cy="1222744"/>
          </a:xfrm>
          <a:custGeom>
            <a:avLst/>
            <a:gdLst>
              <a:gd name="connsiteX0" fmla="*/ 0 w 4550735"/>
              <a:gd name="connsiteY0" fmla="*/ 0 h 1222745"/>
              <a:gd name="connsiteX1" fmla="*/ 1222744 w 4550735"/>
              <a:gd name="connsiteY1" fmla="*/ 1222745 h 1222745"/>
              <a:gd name="connsiteX2" fmla="*/ 4550735 w 4550735"/>
              <a:gd name="connsiteY2" fmla="*/ 10633 h 1222745"/>
              <a:gd name="connsiteX3" fmla="*/ 0 w 4550735"/>
              <a:gd name="connsiteY3" fmla="*/ 0 h 1222745"/>
              <a:gd name="connsiteX0" fmla="*/ 0 w 4582633"/>
              <a:gd name="connsiteY0" fmla="*/ 10633 h 1212112"/>
              <a:gd name="connsiteX1" fmla="*/ 1254642 w 4582633"/>
              <a:gd name="connsiteY1" fmla="*/ 1212112 h 1212112"/>
              <a:gd name="connsiteX2" fmla="*/ 4582633 w 4582633"/>
              <a:gd name="connsiteY2" fmla="*/ 0 h 1212112"/>
              <a:gd name="connsiteX3" fmla="*/ 0 w 4582633"/>
              <a:gd name="connsiteY3" fmla="*/ 10633 h 1212112"/>
              <a:gd name="connsiteX0" fmla="*/ 0 w 4566685"/>
              <a:gd name="connsiteY0" fmla="*/ 0 h 1228061"/>
              <a:gd name="connsiteX1" fmla="*/ 1238694 w 4566685"/>
              <a:gd name="connsiteY1" fmla="*/ 1228061 h 1228061"/>
              <a:gd name="connsiteX2" fmla="*/ 4566685 w 4566685"/>
              <a:gd name="connsiteY2" fmla="*/ 15949 h 1228061"/>
              <a:gd name="connsiteX3" fmla="*/ 0 w 4566685"/>
              <a:gd name="connsiteY3" fmla="*/ 0 h 1228061"/>
              <a:gd name="connsiteX0" fmla="*/ 0 w 4566685"/>
              <a:gd name="connsiteY0" fmla="*/ 0 h 1217428"/>
              <a:gd name="connsiteX1" fmla="*/ 1238694 w 4566685"/>
              <a:gd name="connsiteY1" fmla="*/ 1217428 h 1217428"/>
              <a:gd name="connsiteX2" fmla="*/ 4566685 w 4566685"/>
              <a:gd name="connsiteY2" fmla="*/ 5316 h 1217428"/>
              <a:gd name="connsiteX3" fmla="*/ 0 w 4566685"/>
              <a:gd name="connsiteY3" fmla="*/ 0 h 1217428"/>
              <a:gd name="connsiteX0" fmla="*/ 0 w 4614532"/>
              <a:gd name="connsiteY0" fmla="*/ 0 h 1217428"/>
              <a:gd name="connsiteX1" fmla="*/ 1238694 w 4614532"/>
              <a:gd name="connsiteY1" fmla="*/ 1217428 h 1217428"/>
              <a:gd name="connsiteX2" fmla="*/ 4614532 w 4614532"/>
              <a:gd name="connsiteY2" fmla="*/ 5316 h 1217428"/>
              <a:gd name="connsiteX3" fmla="*/ 0 w 4614532"/>
              <a:gd name="connsiteY3" fmla="*/ 0 h 1217428"/>
              <a:gd name="connsiteX0" fmla="*/ 0 w 4614532"/>
              <a:gd name="connsiteY0" fmla="*/ 0 h 1228060"/>
              <a:gd name="connsiteX1" fmla="*/ 1286541 w 4614532"/>
              <a:gd name="connsiteY1" fmla="*/ 1228060 h 1228060"/>
              <a:gd name="connsiteX2" fmla="*/ 4614532 w 4614532"/>
              <a:gd name="connsiteY2" fmla="*/ 5316 h 1228060"/>
              <a:gd name="connsiteX3" fmla="*/ 0 w 4614532"/>
              <a:gd name="connsiteY3" fmla="*/ 0 h 1228060"/>
              <a:gd name="connsiteX0" fmla="*/ 0 w 4614532"/>
              <a:gd name="connsiteY0" fmla="*/ 10633 h 1222744"/>
              <a:gd name="connsiteX1" fmla="*/ 1286541 w 4614532"/>
              <a:gd name="connsiteY1" fmla="*/ 1222744 h 1222744"/>
              <a:gd name="connsiteX2" fmla="*/ 4614532 w 4614532"/>
              <a:gd name="connsiteY2" fmla="*/ 0 h 1222744"/>
              <a:gd name="connsiteX3" fmla="*/ 0 w 4614532"/>
              <a:gd name="connsiteY3" fmla="*/ 10633 h 1222744"/>
              <a:gd name="connsiteX0" fmla="*/ 0 w 4614532"/>
              <a:gd name="connsiteY0" fmla="*/ 10633 h 1201479"/>
              <a:gd name="connsiteX1" fmla="*/ 1238695 w 4614532"/>
              <a:gd name="connsiteY1" fmla="*/ 1201479 h 1201479"/>
              <a:gd name="connsiteX2" fmla="*/ 4614532 w 4614532"/>
              <a:gd name="connsiteY2" fmla="*/ 0 h 1201479"/>
              <a:gd name="connsiteX3" fmla="*/ 0 w 4614532"/>
              <a:gd name="connsiteY3" fmla="*/ 10633 h 1201479"/>
              <a:gd name="connsiteX0" fmla="*/ 0 w 4614532"/>
              <a:gd name="connsiteY0" fmla="*/ 10633 h 1222744"/>
              <a:gd name="connsiteX1" fmla="*/ 1249328 w 4614532"/>
              <a:gd name="connsiteY1" fmla="*/ 1222744 h 1222744"/>
              <a:gd name="connsiteX2" fmla="*/ 4614532 w 4614532"/>
              <a:gd name="connsiteY2" fmla="*/ 0 h 1222744"/>
              <a:gd name="connsiteX3" fmla="*/ 0 w 4614532"/>
              <a:gd name="connsiteY3" fmla="*/ 10633 h 1222744"/>
              <a:gd name="connsiteX0" fmla="*/ 0 w 4614532"/>
              <a:gd name="connsiteY0" fmla="*/ 0 h 1222744"/>
              <a:gd name="connsiteX1" fmla="*/ 1249328 w 4614532"/>
              <a:gd name="connsiteY1" fmla="*/ 1222744 h 1222744"/>
              <a:gd name="connsiteX2" fmla="*/ 4614532 w 4614532"/>
              <a:gd name="connsiteY2" fmla="*/ 0 h 1222744"/>
              <a:gd name="connsiteX3" fmla="*/ 0 w 4614532"/>
              <a:gd name="connsiteY3" fmla="*/ 0 h 1222744"/>
              <a:gd name="connsiteX0" fmla="*/ 0 w 4630481"/>
              <a:gd name="connsiteY0" fmla="*/ 0 h 1222744"/>
              <a:gd name="connsiteX1" fmla="*/ 1249328 w 4630481"/>
              <a:gd name="connsiteY1" fmla="*/ 1222744 h 1222744"/>
              <a:gd name="connsiteX2" fmla="*/ 4630481 w 4630481"/>
              <a:gd name="connsiteY2" fmla="*/ 0 h 1222744"/>
              <a:gd name="connsiteX3" fmla="*/ 0 w 4630481"/>
              <a:gd name="connsiteY3" fmla="*/ 0 h 1222744"/>
              <a:gd name="connsiteX0" fmla="*/ 0 w 4671425"/>
              <a:gd name="connsiteY0" fmla="*/ 0 h 1222744"/>
              <a:gd name="connsiteX1" fmla="*/ 1290272 w 4671425"/>
              <a:gd name="connsiteY1" fmla="*/ 1222744 h 1222744"/>
              <a:gd name="connsiteX2" fmla="*/ 4671425 w 4671425"/>
              <a:gd name="connsiteY2" fmla="*/ 0 h 1222744"/>
              <a:gd name="connsiteX3" fmla="*/ 0 w 4671425"/>
              <a:gd name="connsiteY3" fmla="*/ 0 h 1222744"/>
              <a:gd name="connsiteX0" fmla="*/ 0 w 4671425"/>
              <a:gd name="connsiteY0" fmla="*/ 0 h 1222744"/>
              <a:gd name="connsiteX1" fmla="*/ 1290272 w 4671425"/>
              <a:gd name="connsiteY1" fmla="*/ 1222744 h 1222744"/>
              <a:gd name="connsiteX2" fmla="*/ 4671425 w 4671425"/>
              <a:gd name="connsiteY2" fmla="*/ 614149 h 1222744"/>
              <a:gd name="connsiteX3" fmla="*/ 0 w 4671425"/>
              <a:gd name="connsiteY3" fmla="*/ 0 h 1222744"/>
              <a:gd name="connsiteX0" fmla="*/ 0 w 4657777"/>
              <a:gd name="connsiteY0" fmla="*/ 13648 h 1236392"/>
              <a:gd name="connsiteX1" fmla="*/ 1290272 w 4657777"/>
              <a:gd name="connsiteY1" fmla="*/ 1236392 h 1236392"/>
              <a:gd name="connsiteX2" fmla="*/ 4657777 w 4657777"/>
              <a:gd name="connsiteY2" fmla="*/ 0 h 1236392"/>
              <a:gd name="connsiteX3" fmla="*/ 0 w 4657777"/>
              <a:gd name="connsiteY3" fmla="*/ 13648 h 1236392"/>
              <a:gd name="connsiteX0" fmla="*/ 0 w 4644129"/>
              <a:gd name="connsiteY0" fmla="*/ 0 h 1222744"/>
              <a:gd name="connsiteX1" fmla="*/ 1290272 w 4644129"/>
              <a:gd name="connsiteY1" fmla="*/ 1222744 h 1222744"/>
              <a:gd name="connsiteX2" fmla="*/ 4644129 w 4644129"/>
              <a:gd name="connsiteY2" fmla="*/ 0 h 1222744"/>
              <a:gd name="connsiteX3" fmla="*/ 0 w 4644129"/>
              <a:gd name="connsiteY3" fmla="*/ 0 h 1222744"/>
            </a:gdLst>
            <a:ahLst/>
            <a:cxnLst>
              <a:cxn ang="0">
                <a:pos x="connsiteX0" y="connsiteY0"/>
              </a:cxn>
              <a:cxn ang="0">
                <a:pos x="connsiteX1" y="connsiteY1"/>
              </a:cxn>
              <a:cxn ang="0">
                <a:pos x="connsiteX2" y="connsiteY2"/>
              </a:cxn>
              <a:cxn ang="0">
                <a:pos x="connsiteX3" y="connsiteY3"/>
              </a:cxn>
            </a:cxnLst>
            <a:rect l="l" t="t" r="r" b="b"/>
            <a:pathLst>
              <a:path w="4644129" h="1222744">
                <a:moveTo>
                  <a:pt x="0" y="0"/>
                </a:moveTo>
                <a:lnTo>
                  <a:pt x="1290272" y="1222744"/>
                </a:lnTo>
                <a:lnTo>
                  <a:pt x="4644129" y="0"/>
                </a:lnTo>
                <a:lnTo>
                  <a:pt x="0" y="0"/>
                </a:lnTo>
                <a:close/>
              </a:path>
            </a:pathLst>
          </a:custGeom>
          <a:gradFill>
            <a:gsLst>
              <a:gs pos="100000">
                <a:schemeClr val="accent2"/>
              </a:gs>
              <a:gs pos="44000">
                <a:schemeClr val="accent1"/>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052439" y="2989173"/>
            <a:ext cx="3708351" cy="2971471"/>
          </a:xfrm>
          <a:custGeom>
            <a:avLst/>
            <a:gdLst>
              <a:gd name="connsiteX0" fmla="*/ 2291255 w 3641834"/>
              <a:gd name="connsiteY0" fmla="*/ 0 h 2958662"/>
              <a:gd name="connsiteX1" fmla="*/ 3641834 w 3641834"/>
              <a:gd name="connsiteY1" fmla="*/ 1692165 h 2958662"/>
              <a:gd name="connsiteX2" fmla="*/ 0 w 3641834"/>
              <a:gd name="connsiteY2" fmla="*/ 2958662 h 2958662"/>
              <a:gd name="connsiteX3" fmla="*/ 2291255 w 3641834"/>
              <a:gd name="connsiteY3" fmla="*/ 0 h 2958662"/>
              <a:gd name="connsiteX0" fmla="*/ 2291255 w 3641834"/>
              <a:gd name="connsiteY0" fmla="*/ 0 h 2963917"/>
              <a:gd name="connsiteX1" fmla="*/ 3641834 w 3641834"/>
              <a:gd name="connsiteY1" fmla="*/ 1697420 h 2963917"/>
              <a:gd name="connsiteX2" fmla="*/ 0 w 3641834"/>
              <a:gd name="connsiteY2" fmla="*/ 2963917 h 2963917"/>
              <a:gd name="connsiteX3" fmla="*/ 2291255 w 3641834"/>
              <a:gd name="connsiteY3" fmla="*/ 0 h 2963917"/>
              <a:gd name="connsiteX0" fmla="*/ 2301765 w 3641834"/>
              <a:gd name="connsiteY0" fmla="*/ 0 h 2948152"/>
              <a:gd name="connsiteX1" fmla="*/ 3641834 w 3641834"/>
              <a:gd name="connsiteY1" fmla="*/ 1681655 h 2948152"/>
              <a:gd name="connsiteX2" fmla="*/ 0 w 3641834"/>
              <a:gd name="connsiteY2" fmla="*/ 2948152 h 2948152"/>
              <a:gd name="connsiteX3" fmla="*/ 2301765 w 3641834"/>
              <a:gd name="connsiteY3" fmla="*/ 0 h 2948152"/>
              <a:gd name="connsiteX0" fmla="*/ 2293452 w 3641834"/>
              <a:gd name="connsiteY0" fmla="*/ 0 h 2948152"/>
              <a:gd name="connsiteX1" fmla="*/ 3641834 w 3641834"/>
              <a:gd name="connsiteY1" fmla="*/ 1681655 h 2948152"/>
              <a:gd name="connsiteX2" fmla="*/ 0 w 3641834"/>
              <a:gd name="connsiteY2" fmla="*/ 2948152 h 2948152"/>
              <a:gd name="connsiteX3" fmla="*/ 2293452 w 3641834"/>
              <a:gd name="connsiteY3" fmla="*/ 0 h 2948152"/>
              <a:gd name="connsiteX0" fmla="*/ 2305379 w 3653761"/>
              <a:gd name="connsiteY0" fmla="*/ 0 h 2944176"/>
              <a:gd name="connsiteX1" fmla="*/ 3653761 w 3653761"/>
              <a:gd name="connsiteY1" fmla="*/ 1681655 h 2944176"/>
              <a:gd name="connsiteX2" fmla="*/ 0 w 3653761"/>
              <a:gd name="connsiteY2" fmla="*/ 2944176 h 2944176"/>
              <a:gd name="connsiteX3" fmla="*/ 2305379 w 3653761"/>
              <a:gd name="connsiteY3" fmla="*/ 0 h 2944176"/>
              <a:gd name="connsiteX0" fmla="*/ 2291731 w 3653761"/>
              <a:gd name="connsiteY0" fmla="*/ 0 h 2944176"/>
              <a:gd name="connsiteX1" fmla="*/ 3653761 w 3653761"/>
              <a:gd name="connsiteY1" fmla="*/ 1681655 h 2944176"/>
              <a:gd name="connsiteX2" fmla="*/ 0 w 3653761"/>
              <a:gd name="connsiteY2" fmla="*/ 2944176 h 2944176"/>
              <a:gd name="connsiteX3" fmla="*/ 2291731 w 3653761"/>
              <a:gd name="connsiteY3" fmla="*/ 0 h 2944176"/>
              <a:gd name="connsiteX0" fmla="*/ 2305378 w 3653761"/>
              <a:gd name="connsiteY0" fmla="*/ 0 h 2971471"/>
              <a:gd name="connsiteX1" fmla="*/ 3653761 w 3653761"/>
              <a:gd name="connsiteY1" fmla="*/ 1708950 h 2971471"/>
              <a:gd name="connsiteX2" fmla="*/ 0 w 3653761"/>
              <a:gd name="connsiteY2" fmla="*/ 2971471 h 2971471"/>
              <a:gd name="connsiteX3" fmla="*/ 2305378 w 3653761"/>
              <a:gd name="connsiteY3" fmla="*/ 0 h 2971471"/>
              <a:gd name="connsiteX0" fmla="*/ 2305378 w 3694704"/>
              <a:gd name="connsiteY0" fmla="*/ 0 h 2971471"/>
              <a:gd name="connsiteX1" fmla="*/ 3694704 w 3694704"/>
              <a:gd name="connsiteY1" fmla="*/ 1722598 h 2971471"/>
              <a:gd name="connsiteX2" fmla="*/ 0 w 3694704"/>
              <a:gd name="connsiteY2" fmla="*/ 2971471 h 2971471"/>
              <a:gd name="connsiteX3" fmla="*/ 2305378 w 3694704"/>
              <a:gd name="connsiteY3" fmla="*/ 0 h 2971471"/>
              <a:gd name="connsiteX0" fmla="*/ 2319025 w 3708351"/>
              <a:gd name="connsiteY0" fmla="*/ 0 h 2971471"/>
              <a:gd name="connsiteX1" fmla="*/ 3708351 w 3708351"/>
              <a:gd name="connsiteY1" fmla="*/ 1722598 h 2971471"/>
              <a:gd name="connsiteX2" fmla="*/ 0 w 3708351"/>
              <a:gd name="connsiteY2" fmla="*/ 2971471 h 2971471"/>
              <a:gd name="connsiteX3" fmla="*/ 2319025 w 3708351"/>
              <a:gd name="connsiteY3" fmla="*/ 0 h 2971471"/>
            </a:gdLst>
            <a:ahLst/>
            <a:cxnLst>
              <a:cxn ang="0">
                <a:pos x="connsiteX0" y="connsiteY0"/>
              </a:cxn>
              <a:cxn ang="0">
                <a:pos x="connsiteX1" y="connsiteY1"/>
              </a:cxn>
              <a:cxn ang="0">
                <a:pos x="connsiteX2" y="connsiteY2"/>
              </a:cxn>
              <a:cxn ang="0">
                <a:pos x="connsiteX3" y="connsiteY3"/>
              </a:cxn>
            </a:cxnLst>
            <a:rect l="l" t="t" r="r" b="b"/>
            <a:pathLst>
              <a:path w="3708351" h="2971471">
                <a:moveTo>
                  <a:pt x="2319025" y="0"/>
                </a:moveTo>
                <a:lnTo>
                  <a:pt x="3708351" y="1722598"/>
                </a:lnTo>
                <a:lnTo>
                  <a:pt x="0" y="2971471"/>
                </a:lnTo>
                <a:lnTo>
                  <a:pt x="2319025" y="0"/>
                </a:lnTo>
                <a:close/>
              </a:path>
            </a:pathLst>
          </a:custGeom>
          <a:gradFill>
            <a:gsLst>
              <a:gs pos="0">
                <a:schemeClr val="accent1"/>
              </a:gs>
              <a:gs pos="85000">
                <a:schemeClr val="accent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0" name="Freeform 9"/>
          <p:cNvSpPr/>
          <p:nvPr/>
        </p:nvSpPr>
        <p:spPr>
          <a:xfrm>
            <a:off x="-3085" y="-4317"/>
            <a:ext cx="3366670" cy="1808791"/>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346198"/>
              <a:gd name="connsiteY0" fmla="*/ 0 h 1771137"/>
              <a:gd name="connsiteX1" fmla="*/ 3346198 w 3346198"/>
              <a:gd name="connsiteY1" fmla="*/ 3282 h 1771137"/>
              <a:gd name="connsiteX2" fmla="*/ 3153403 w 3346198"/>
              <a:gd name="connsiteY2" fmla="*/ 1771137 h 1771137"/>
              <a:gd name="connsiteX3" fmla="*/ 0 w 3346198"/>
              <a:gd name="connsiteY3" fmla="*/ 0 h 1771137"/>
              <a:gd name="connsiteX0" fmla="*/ 0 w 3346198"/>
              <a:gd name="connsiteY0" fmla="*/ 0 h 1766374"/>
              <a:gd name="connsiteX1" fmla="*/ 3346198 w 3346198"/>
              <a:gd name="connsiteY1" fmla="*/ 3282 h 1766374"/>
              <a:gd name="connsiteX2" fmla="*/ 3110540 w 3346198"/>
              <a:gd name="connsiteY2" fmla="*/ 1766374 h 1766374"/>
              <a:gd name="connsiteX3" fmla="*/ 0 w 3346198"/>
              <a:gd name="connsiteY3" fmla="*/ 0 h 1766374"/>
              <a:gd name="connsiteX0" fmla="*/ 0 w 3346198"/>
              <a:gd name="connsiteY0" fmla="*/ 0 h 1780662"/>
              <a:gd name="connsiteX1" fmla="*/ 3346198 w 3346198"/>
              <a:gd name="connsiteY1" fmla="*/ 3282 h 1780662"/>
              <a:gd name="connsiteX2" fmla="*/ 3091490 w 3346198"/>
              <a:gd name="connsiteY2" fmla="*/ 1780662 h 1780662"/>
              <a:gd name="connsiteX3" fmla="*/ 0 w 3346198"/>
              <a:gd name="connsiteY3" fmla="*/ 0 h 1780662"/>
              <a:gd name="connsiteX0" fmla="*/ 0 w 3346198"/>
              <a:gd name="connsiteY0" fmla="*/ 0 h 1804474"/>
              <a:gd name="connsiteX1" fmla="*/ 3346198 w 3346198"/>
              <a:gd name="connsiteY1" fmla="*/ 3282 h 1804474"/>
              <a:gd name="connsiteX2" fmla="*/ 3115303 w 3346198"/>
              <a:gd name="connsiteY2" fmla="*/ 1804474 h 1804474"/>
              <a:gd name="connsiteX3" fmla="*/ 0 w 3346198"/>
              <a:gd name="connsiteY3" fmla="*/ 0 h 1804474"/>
              <a:gd name="connsiteX0" fmla="*/ 0 w 3346198"/>
              <a:gd name="connsiteY0" fmla="*/ 10366 h 1801192"/>
              <a:gd name="connsiteX1" fmla="*/ 3346198 w 3346198"/>
              <a:gd name="connsiteY1" fmla="*/ 0 h 1801192"/>
              <a:gd name="connsiteX2" fmla="*/ 3115303 w 3346198"/>
              <a:gd name="connsiteY2" fmla="*/ 1801192 h 1801192"/>
              <a:gd name="connsiteX3" fmla="*/ 0 w 3346198"/>
              <a:gd name="connsiteY3" fmla="*/ 10366 h 1801192"/>
              <a:gd name="connsiteX0" fmla="*/ 0 w 3366670"/>
              <a:gd name="connsiteY0" fmla="*/ 0 h 1818122"/>
              <a:gd name="connsiteX1" fmla="*/ 3366670 w 3366670"/>
              <a:gd name="connsiteY1" fmla="*/ 16930 h 1818122"/>
              <a:gd name="connsiteX2" fmla="*/ 3135775 w 3366670"/>
              <a:gd name="connsiteY2" fmla="*/ 1818122 h 1818122"/>
              <a:gd name="connsiteX3" fmla="*/ 0 w 3366670"/>
              <a:gd name="connsiteY3" fmla="*/ 0 h 1818122"/>
              <a:gd name="connsiteX0" fmla="*/ 0 w 3363258"/>
              <a:gd name="connsiteY0" fmla="*/ 0 h 1811298"/>
              <a:gd name="connsiteX1" fmla="*/ 3363258 w 3363258"/>
              <a:gd name="connsiteY1" fmla="*/ 10106 h 1811298"/>
              <a:gd name="connsiteX2" fmla="*/ 3132363 w 3363258"/>
              <a:gd name="connsiteY2" fmla="*/ 1811298 h 1811298"/>
              <a:gd name="connsiteX3" fmla="*/ 0 w 3363258"/>
              <a:gd name="connsiteY3" fmla="*/ 0 h 1811298"/>
              <a:gd name="connsiteX0" fmla="*/ 0 w 3363258"/>
              <a:gd name="connsiteY0" fmla="*/ 0 h 1807886"/>
              <a:gd name="connsiteX1" fmla="*/ 3363258 w 3363258"/>
              <a:gd name="connsiteY1" fmla="*/ 6694 h 1807886"/>
              <a:gd name="connsiteX2" fmla="*/ 3132363 w 3363258"/>
              <a:gd name="connsiteY2" fmla="*/ 1807886 h 1807886"/>
              <a:gd name="connsiteX3" fmla="*/ 0 w 3363258"/>
              <a:gd name="connsiteY3" fmla="*/ 0 h 1807886"/>
              <a:gd name="connsiteX0" fmla="*/ 0 w 3363258"/>
              <a:gd name="connsiteY0" fmla="*/ 3542 h 1801192"/>
              <a:gd name="connsiteX1" fmla="*/ 3363258 w 3363258"/>
              <a:gd name="connsiteY1" fmla="*/ 0 h 1801192"/>
              <a:gd name="connsiteX2" fmla="*/ 3132363 w 3363258"/>
              <a:gd name="connsiteY2" fmla="*/ 1801192 h 1801192"/>
              <a:gd name="connsiteX3" fmla="*/ 0 w 3363258"/>
              <a:gd name="connsiteY3" fmla="*/ 3542 h 1801192"/>
              <a:gd name="connsiteX0" fmla="*/ 0 w 3366670"/>
              <a:gd name="connsiteY0" fmla="*/ 0 h 1804474"/>
              <a:gd name="connsiteX1" fmla="*/ 3366670 w 3366670"/>
              <a:gd name="connsiteY1" fmla="*/ 3282 h 1804474"/>
              <a:gd name="connsiteX2" fmla="*/ 3135775 w 3366670"/>
              <a:gd name="connsiteY2" fmla="*/ 1804474 h 1804474"/>
              <a:gd name="connsiteX3" fmla="*/ 0 w 3366670"/>
              <a:gd name="connsiteY3" fmla="*/ 0 h 1804474"/>
            </a:gdLst>
            <a:ahLst/>
            <a:cxnLst>
              <a:cxn ang="0">
                <a:pos x="connsiteX0" y="connsiteY0"/>
              </a:cxn>
              <a:cxn ang="0">
                <a:pos x="connsiteX1" y="connsiteY1"/>
              </a:cxn>
              <a:cxn ang="0">
                <a:pos x="connsiteX2" y="connsiteY2"/>
              </a:cxn>
              <a:cxn ang="0">
                <a:pos x="connsiteX3" y="connsiteY3"/>
              </a:cxn>
            </a:cxnLst>
            <a:rect l="l" t="t" r="r" b="b"/>
            <a:pathLst>
              <a:path w="3366670" h="1804474">
                <a:moveTo>
                  <a:pt x="0" y="0"/>
                </a:moveTo>
                <a:lnTo>
                  <a:pt x="3366670" y="3282"/>
                </a:lnTo>
                <a:lnTo>
                  <a:pt x="3135775" y="1804474"/>
                </a:lnTo>
                <a:lnTo>
                  <a:pt x="0" y="0"/>
                </a:lnTo>
                <a:close/>
              </a:path>
            </a:pathLst>
          </a:custGeom>
          <a:gradFill>
            <a:gsLst>
              <a:gs pos="100000">
                <a:schemeClr val="accent2"/>
              </a:gs>
              <a:gs pos="4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1" name="Freeform 10"/>
          <p:cNvSpPr/>
          <p:nvPr/>
        </p:nvSpPr>
        <p:spPr>
          <a:xfrm>
            <a:off x="3111696" y="1778988"/>
            <a:ext cx="3269644" cy="3085357"/>
          </a:xfrm>
          <a:custGeom>
            <a:avLst/>
            <a:gdLst>
              <a:gd name="connsiteX0" fmla="*/ 0 w 3237186"/>
              <a:gd name="connsiteY0" fmla="*/ 0 h 3095296"/>
              <a:gd name="connsiteX1" fmla="*/ 441434 w 3237186"/>
              <a:gd name="connsiteY1" fmla="*/ 3095296 h 3095296"/>
              <a:gd name="connsiteX2" fmla="*/ 3237186 w 3237186"/>
              <a:gd name="connsiteY2" fmla="*/ 1255986 h 3095296"/>
              <a:gd name="connsiteX3" fmla="*/ 0 w 3237186"/>
              <a:gd name="connsiteY3" fmla="*/ 0 h 3095296"/>
              <a:gd name="connsiteX0" fmla="*/ 0 w 3237186"/>
              <a:gd name="connsiteY0" fmla="*/ 0 h 3109584"/>
              <a:gd name="connsiteX1" fmla="*/ 441434 w 3237186"/>
              <a:gd name="connsiteY1" fmla="*/ 3109584 h 3109584"/>
              <a:gd name="connsiteX2" fmla="*/ 3237186 w 3237186"/>
              <a:gd name="connsiteY2" fmla="*/ 1270274 h 3109584"/>
              <a:gd name="connsiteX3" fmla="*/ 0 w 3237186"/>
              <a:gd name="connsiteY3" fmla="*/ 0 h 3109584"/>
              <a:gd name="connsiteX0" fmla="*/ 0 w 3237186"/>
              <a:gd name="connsiteY0" fmla="*/ 0 h 3085764"/>
              <a:gd name="connsiteX1" fmla="*/ 441434 w 3237186"/>
              <a:gd name="connsiteY1" fmla="*/ 3085764 h 3085764"/>
              <a:gd name="connsiteX2" fmla="*/ 3237186 w 3237186"/>
              <a:gd name="connsiteY2" fmla="*/ 1246454 h 3085764"/>
              <a:gd name="connsiteX3" fmla="*/ 0 w 3237186"/>
              <a:gd name="connsiteY3" fmla="*/ 0 h 3085764"/>
              <a:gd name="connsiteX0" fmla="*/ 0 w 3255520"/>
              <a:gd name="connsiteY0" fmla="*/ 0 h 3085764"/>
              <a:gd name="connsiteX1" fmla="*/ 441434 w 3255520"/>
              <a:gd name="connsiteY1" fmla="*/ 3085764 h 3085764"/>
              <a:gd name="connsiteX2" fmla="*/ 3255520 w 3255520"/>
              <a:gd name="connsiteY2" fmla="*/ 1239108 h 3085764"/>
              <a:gd name="connsiteX3" fmla="*/ 0 w 3255520"/>
              <a:gd name="connsiteY3" fmla="*/ 0 h 3085764"/>
              <a:gd name="connsiteX0" fmla="*/ 0 w 3255520"/>
              <a:gd name="connsiteY0" fmla="*/ 0 h 3088940"/>
              <a:gd name="connsiteX1" fmla="*/ 460457 w 3255520"/>
              <a:gd name="connsiteY1" fmla="*/ 3088940 h 3088940"/>
              <a:gd name="connsiteX2" fmla="*/ 3255520 w 3255520"/>
              <a:gd name="connsiteY2" fmla="*/ 1239108 h 3088940"/>
              <a:gd name="connsiteX3" fmla="*/ 0 w 3255520"/>
              <a:gd name="connsiteY3" fmla="*/ 0 h 3088940"/>
              <a:gd name="connsiteX0" fmla="*/ 0 w 3262334"/>
              <a:gd name="connsiteY0" fmla="*/ 0 h 3088940"/>
              <a:gd name="connsiteX1" fmla="*/ 460457 w 3262334"/>
              <a:gd name="connsiteY1" fmla="*/ 3088940 h 3088940"/>
              <a:gd name="connsiteX2" fmla="*/ 3262334 w 3262334"/>
              <a:gd name="connsiteY2" fmla="*/ 1239108 h 3088940"/>
              <a:gd name="connsiteX3" fmla="*/ 0 w 3262334"/>
              <a:gd name="connsiteY3" fmla="*/ 0 h 3088940"/>
              <a:gd name="connsiteX0" fmla="*/ 0 w 3264905"/>
              <a:gd name="connsiteY0" fmla="*/ 0 h 3086363"/>
              <a:gd name="connsiteX1" fmla="*/ 463028 w 3264905"/>
              <a:gd name="connsiteY1" fmla="*/ 3086363 h 3086363"/>
              <a:gd name="connsiteX2" fmla="*/ 3264905 w 3264905"/>
              <a:gd name="connsiteY2" fmla="*/ 1236531 h 3086363"/>
              <a:gd name="connsiteX3" fmla="*/ 0 w 3264905"/>
              <a:gd name="connsiteY3" fmla="*/ 0 h 3086363"/>
            </a:gdLst>
            <a:ahLst/>
            <a:cxnLst>
              <a:cxn ang="0">
                <a:pos x="connsiteX0" y="connsiteY0"/>
              </a:cxn>
              <a:cxn ang="0">
                <a:pos x="connsiteX1" y="connsiteY1"/>
              </a:cxn>
              <a:cxn ang="0">
                <a:pos x="connsiteX2" y="connsiteY2"/>
              </a:cxn>
              <a:cxn ang="0">
                <a:pos x="connsiteX3" y="connsiteY3"/>
              </a:cxn>
            </a:cxnLst>
            <a:rect l="l" t="t" r="r" b="b"/>
            <a:pathLst>
              <a:path w="3264905" h="3086363">
                <a:moveTo>
                  <a:pt x="0" y="0"/>
                </a:moveTo>
                <a:lnTo>
                  <a:pt x="463028" y="3086363"/>
                </a:lnTo>
                <a:lnTo>
                  <a:pt x="3264905" y="1236531"/>
                </a:lnTo>
                <a:lnTo>
                  <a:pt x="0" y="0"/>
                </a:lnTo>
                <a:close/>
              </a:path>
            </a:pathLst>
          </a:custGeom>
          <a:gradFill>
            <a:gsLst>
              <a:gs pos="15000">
                <a:schemeClr val="accent2"/>
              </a:gs>
              <a:gs pos="100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2" name="Freeform 11"/>
          <p:cNvSpPr/>
          <p:nvPr/>
        </p:nvSpPr>
        <p:spPr>
          <a:xfrm>
            <a:off x="7713406" y="2411362"/>
            <a:ext cx="1983659" cy="4457360"/>
          </a:xfrm>
          <a:custGeom>
            <a:avLst/>
            <a:gdLst>
              <a:gd name="connsiteX0" fmla="*/ 1983659 w 1983659"/>
              <a:gd name="connsiteY0" fmla="*/ 0 h 4431891"/>
              <a:gd name="connsiteX1" fmla="*/ 1032388 w 1983659"/>
              <a:gd name="connsiteY1" fmla="*/ 4431891 h 4431891"/>
              <a:gd name="connsiteX2" fmla="*/ 0 w 1983659"/>
              <a:gd name="connsiteY2" fmla="*/ 2286000 h 4431891"/>
              <a:gd name="connsiteX3" fmla="*/ 1983659 w 1983659"/>
              <a:gd name="connsiteY3" fmla="*/ 0 h 4431891"/>
              <a:gd name="connsiteX0" fmla="*/ 1983659 w 1983659"/>
              <a:gd name="connsiteY0" fmla="*/ 0 h 4439842"/>
              <a:gd name="connsiteX1" fmla="*/ 1000583 w 1983659"/>
              <a:gd name="connsiteY1" fmla="*/ 4439842 h 4439842"/>
              <a:gd name="connsiteX2" fmla="*/ 0 w 1983659"/>
              <a:gd name="connsiteY2" fmla="*/ 2286000 h 4439842"/>
              <a:gd name="connsiteX3" fmla="*/ 1983659 w 1983659"/>
              <a:gd name="connsiteY3" fmla="*/ 0 h 4439842"/>
              <a:gd name="connsiteX0" fmla="*/ 1983659 w 1983659"/>
              <a:gd name="connsiteY0" fmla="*/ 0 h 4447794"/>
              <a:gd name="connsiteX1" fmla="*/ 1000583 w 1983659"/>
              <a:gd name="connsiteY1" fmla="*/ 4447794 h 4447794"/>
              <a:gd name="connsiteX2" fmla="*/ 0 w 1983659"/>
              <a:gd name="connsiteY2" fmla="*/ 2286000 h 4447794"/>
              <a:gd name="connsiteX3" fmla="*/ 1983659 w 1983659"/>
              <a:gd name="connsiteY3" fmla="*/ 0 h 4447794"/>
              <a:gd name="connsiteX0" fmla="*/ 1983659 w 1983659"/>
              <a:gd name="connsiteY0" fmla="*/ 0 h 4471648"/>
              <a:gd name="connsiteX1" fmla="*/ 1000583 w 1983659"/>
              <a:gd name="connsiteY1" fmla="*/ 4471648 h 4471648"/>
              <a:gd name="connsiteX2" fmla="*/ 0 w 1983659"/>
              <a:gd name="connsiteY2" fmla="*/ 2286000 h 4471648"/>
              <a:gd name="connsiteX3" fmla="*/ 1983659 w 1983659"/>
              <a:gd name="connsiteY3" fmla="*/ 0 h 4471648"/>
              <a:gd name="connsiteX0" fmla="*/ 1983659 w 1983659"/>
              <a:gd name="connsiteY0" fmla="*/ 0 h 4457360"/>
              <a:gd name="connsiteX1" fmla="*/ 995820 w 1983659"/>
              <a:gd name="connsiteY1" fmla="*/ 4457360 h 4457360"/>
              <a:gd name="connsiteX2" fmla="*/ 0 w 1983659"/>
              <a:gd name="connsiteY2" fmla="*/ 2286000 h 4457360"/>
              <a:gd name="connsiteX3" fmla="*/ 1983659 w 1983659"/>
              <a:gd name="connsiteY3" fmla="*/ 0 h 4457360"/>
              <a:gd name="connsiteX0" fmla="*/ 1983659 w 1983659"/>
              <a:gd name="connsiteY0" fmla="*/ 0 h 4457360"/>
              <a:gd name="connsiteX1" fmla="*/ 991058 w 1983659"/>
              <a:gd name="connsiteY1" fmla="*/ 4457360 h 4457360"/>
              <a:gd name="connsiteX2" fmla="*/ 0 w 1983659"/>
              <a:gd name="connsiteY2" fmla="*/ 2286000 h 4457360"/>
              <a:gd name="connsiteX3" fmla="*/ 1983659 w 1983659"/>
              <a:gd name="connsiteY3" fmla="*/ 0 h 4457360"/>
            </a:gdLst>
            <a:ahLst/>
            <a:cxnLst>
              <a:cxn ang="0">
                <a:pos x="connsiteX0" y="connsiteY0"/>
              </a:cxn>
              <a:cxn ang="0">
                <a:pos x="connsiteX1" y="connsiteY1"/>
              </a:cxn>
              <a:cxn ang="0">
                <a:pos x="connsiteX2" y="connsiteY2"/>
              </a:cxn>
              <a:cxn ang="0">
                <a:pos x="connsiteX3" y="connsiteY3"/>
              </a:cxn>
            </a:cxnLst>
            <a:rect l="l" t="t" r="r" b="b"/>
            <a:pathLst>
              <a:path w="1983659" h="4457360">
                <a:moveTo>
                  <a:pt x="1983659" y="0"/>
                </a:moveTo>
                <a:lnTo>
                  <a:pt x="991058" y="4457360"/>
                </a:lnTo>
                <a:lnTo>
                  <a:pt x="0" y="2286000"/>
                </a:lnTo>
                <a:lnTo>
                  <a:pt x="1983659" y="0"/>
                </a:lnTo>
                <a:close/>
              </a:path>
            </a:pathLst>
          </a:custGeom>
          <a:gradFill>
            <a:gsLst>
              <a:gs pos="0">
                <a:schemeClr val="accent1"/>
              </a:gs>
              <a:gs pos="73000">
                <a:schemeClr val="accent2"/>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3" name="Freeform 12"/>
          <p:cNvSpPr/>
          <p:nvPr/>
        </p:nvSpPr>
        <p:spPr>
          <a:xfrm>
            <a:off x="6341757" y="1209676"/>
            <a:ext cx="3359456" cy="1822946"/>
          </a:xfrm>
          <a:custGeom>
            <a:avLst/>
            <a:gdLst>
              <a:gd name="connsiteX0" fmla="*/ 1271587 w 3305175"/>
              <a:gd name="connsiteY0" fmla="*/ 0 h 1809750"/>
              <a:gd name="connsiteX1" fmla="*/ 3305175 w 3305175"/>
              <a:gd name="connsiteY1" fmla="*/ 1233487 h 1809750"/>
              <a:gd name="connsiteX2" fmla="*/ 0 w 3305175"/>
              <a:gd name="connsiteY2" fmla="*/ 1809750 h 1809750"/>
              <a:gd name="connsiteX3" fmla="*/ 1271587 w 3305175"/>
              <a:gd name="connsiteY3" fmla="*/ 0 h 1809750"/>
              <a:gd name="connsiteX0" fmla="*/ 1281112 w 3314700"/>
              <a:gd name="connsiteY0" fmla="*/ 0 h 1828800"/>
              <a:gd name="connsiteX1" fmla="*/ 3314700 w 3314700"/>
              <a:gd name="connsiteY1" fmla="*/ 1233487 h 1828800"/>
              <a:gd name="connsiteX2" fmla="*/ 0 w 3314700"/>
              <a:gd name="connsiteY2" fmla="*/ 1828800 h 1828800"/>
              <a:gd name="connsiteX3" fmla="*/ 1281112 w 3314700"/>
              <a:gd name="connsiteY3" fmla="*/ 0 h 1828800"/>
              <a:gd name="connsiteX0" fmla="*/ 1300162 w 3333750"/>
              <a:gd name="connsiteY0" fmla="*/ 0 h 1824037"/>
              <a:gd name="connsiteX1" fmla="*/ 3333750 w 3333750"/>
              <a:gd name="connsiteY1" fmla="*/ 1233487 h 1824037"/>
              <a:gd name="connsiteX2" fmla="*/ 0 w 3333750"/>
              <a:gd name="connsiteY2" fmla="*/ 1824037 h 1824037"/>
              <a:gd name="connsiteX3" fmla="*/ 1300162 w 3333750"/>
              <a:gd name="connsiteY3" fmla="*/ 0 h 1824037"/>
              <a:gd name="connsiteX0" fmla="*/ 1314449 w 3333750"/>
              <a:gd name="connsiteY0" fmla="*/ 0 h 1381124"/>
              <a:gd name="connsiteX1" fmla="*/ 3333750 w 3333750"/>
              <a:gd name="connsiteY1" fmla="*/ 790574 h 1381124"/>
              <a:gd name="connsiteX2" fmla="*/ 0 w 3333750"/>
              <a:gd name="connsiteY2" fmla="*/ 1381124 h 1381124"/>
              <a:gd name="connsiteX3" fmla="*/ 1314449 w 3333750"/>
              <a:gd name="connsiteY3" fmla="*/ 0 h 138112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Lst>
            <a:ahLst/>
            <a:cxnLst>
              <a:cxn ang="0">
                <a:pos x="connsiteX0" y="connsiteY0"/>
              </a:cxn>
              <a:cxn ang="0">
                <a:pos x="connsiteX1" y="connsiteY1"/>
              </a:cxn>
              <a:cxn ang="0">
                <a:pos x="connsiteX2" y="connsiteY2"/>
              </a:cxn>
              <a:cxn ang="0">
                <a:pos x="connsiteX3" y="connsiteY3"/>
              </a:cxn>
            </a:cxnLst>
            <a:rect l="l" t="t" r="r" b="b"/>
            <a:pathLst>
              <a:path w="3359456" h="1822946">
                <a:moveTo>
                  <a:pt x="1325868" y="0"/>
                </a:moveTo>
                <a:lnTo>
                  <a:pt x="3359456" y="1228724"/>
                </a:lnTo>
                <a:lnTo>
                  <a:pt x="0" y="1822946"/>
                </a:lnTo>
                <a:lnTo>
                  <a:pt x="1325868" y="0"/>
                </a:lnTo>
                <a:close/>
              </a:path>
            </a:pathLst>
          </a:custGeom>
          <a:gradFill>
            <a:gsLst>
              <a:gs pos="0">
                <a:schemeClr val="accent1"/>
              </a:gs>
              <a:gs pos="96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4" name="Freeform 13"/>
          <p:cNvSpPr/>
          <p:nvPr/>
        </p:nvSpPr>
        <p:spPr>
          <a:xfrm>
            <a:off x="-227" y="-2"/>
            <a:ext cx="1040749" cy="6862615"/>
          </a:xfrm>
          <a:custGeom>
            <a:avLst/>
            <a:gdLst>
              <a:gd name="connsiteX0" fmla="*/ 0 w 1076445"/>
              <a:gd name="connsiteY0" fmla="*/ 0 h 6817489"/>
              <a:gd name="connsiteX1" fmla="*/ 1076445 w 1076445"/>
              <a:gd name="connsiteY1" fmla="*/ 1805651 h 6817489"/>
              <a:gd name="connsiteX2" fmla="*/ 11574 w 1076445"/>
              <a:gd name="connsiteY2" fmla="*/ 6817489 h 6817489"/>
              <a:gd name="connsiteX3" fmla="*/ 0 w 1076445"/>
              <a:gd name="connsiteY3" fmla="*/ 0 h 6817489"/>
              <a:gd name="connsiteX0" fmla="*/ 0 w 873245"/>
              <a:gd name="connsiteY0" fmla="*/ 0 h 6817489"/>
              <a:gd name="connsiteX1" fmla="*/ 873245 w 873245"/>
              <a:gd name="connsiteY1" fmla="*/ 1764376 h 6817489"/>
              <a:gd name="connsiteX2" fmla="*/ 11574 w 873245"/>
              <a:gd name="connsiteY2" fmla="*/ 6817489 h 6817489"/>
              <a:gd name="connsiteX3" fmla="*/ 0 w 873245"/>
              <a:gd name="connsiteY3" fmla="*/ 0 h 6817489"/>
              <a:gd name="connsiteX0" fmla="*/ 0 w 1047870"/>
              <a:gd name="connsiteY0" fmla="*/ 0 h 6817489"/>
              <a:gd name="connsiteX1" fmla="*/ 1047870 w 1047870"/>
              <a:gd name="connsiteY1" fmla="*/ 1770726 h 6817489"/>
              <a:gd name="connsiteX2" fmla="*/ 11574 w 1047870"/>
              <a:gd name="connsiteY2" fmla="*/ 6817489 h 6817489"/>
              <a:gd name="connsiteX3" fmla="*/ 0 w 1047870"/>
              <a:gd name="connsiteY3" fmla="*/ 0 h 6817489"/>
              <a:gd name="connsiteX0" fmla="*/ 0 w 698013"/>
              <a:gd name="connsiteY0" fmla="*/ 0 h 6817489"/>
              <a:gd name="connsiteX1" fmla="*/ 698013 w 698013"/>
              <a:gd name="connsiteY1" fmla="*/ 2181752 h 6817489"/>
              <a:gd name="connsiteX2" fmla="*/ 11574 w 698013"/>
              <a:gd name="connsiteY2" fmla="*/ 6817489 h 6817489"/>
              <a:gd name="connsiteX3" fmla="*/ 0 w 698013"/>
              <a:gd name="connsiteY3" fmla="*/ 0 h 6817489"/>
              <a:gd name="connsiteX0" fmla="*/ 0 w 1039919"/>
              <a:gd name="connsiteY0" fmla="*/ 0 h 6817489"/>
              <a:gd name="connsiteX1" fmla="*/ 1039919 w 1039919"/>
              <a:gd name="connsiteY1" fmla="*/ 1762823 h 6817489"/>
              <a:gd name="connsiteX2" fmla="*/ 11574 w 1039919"/>
              <a:gd name="connsiteY2" fmla="*/ 6817489 h 6817489"/>
              <a:gd name="connsiteX3" fmla="*/ 0 w 1039919"/>
              <a:gd name="connsiteY3" fmla="*/ 0 h 6817489"/>
              <a:gd name="connsiteX0" fmla="*/ 0 w 823788"/>
              <a:gd name="connsiteY0" fmla="*/ 0 h 6817489"/>
              <a:gd name="connsiteX1" fmla="*/ 823788 w 823788"/>
              <a:gd name="connsiteY1" fmla="*/ 1820668 h 6817489"/>
              <a:gd name="connsiteX2" fmla="*/ 11574 w 823788"/>
              <a:gd name="connsiteY2" fmla="*/ 6817489 h 6817489"/>
              <a:gd name="connsiteX3" fmla="*/ 0 w 823788"/>
              <a:gd name="connsiteY3" fmla="*/ 0 h 6817489"/>
              <a:gd name="connsiteX0" fmla="*/ 0 w 1035762"/>
              <a:gd name="connsiteY0" fmla="*/ 0 h 6817489"/>
              <a:gd name="connsiteX1" fmla="*/ 1035762 w 1035762"/>
              <a:gd name="connsiteY1" fmla="*/ 1766955 h 6817489"/>
              <a:gd name="connsiteX2" fmla="*/ 11574 w 1035762"/>
              <a:gd name="connsiteY2" fmla="*/ 6817489 h 6817489"/>
              <a:gd name="connsiteX3" fmla="*/ 0 w 1035762"/>
              <a:gd name="connsiteY3" fmla="*/ 0 h 6817489"/>
              <a:gd name="connsiteX0" fmla="*/ 0 w 1040524"/>
              <a:gd name="connsiteY0" fmla="*/ 0 h 6817489"/>
              <a:gd name="connsiteX1" fmla="*/ 1040524 w 1040524"/>
              <a:gd name="connsiteY1" fmla="*/ 1762221 h 6817489"/>
              <a:gd name="connsiteX2" fmla="*/ 11574 w 1040524"/>
              <a:gd name="connsiteY2" fmla="*/ 6817489 h 6817489"/>
              <a:gd name="connsiteX3" fmla="*/ 0 w 1040524"/>
              <a:gd name="connsiteY3" fmla="*/ 0 h 6817489"/>
              <a:gd name="connsiteX0" fmla="*/ 225 w 1040749"/>
              <a:gd name="connsiteY0" fmla="*/ 0 h 6858541"/>
              <a:gd name="connsiteX1" fmla="*/ 1040749 w 1040749"/>
              <a:gd name="connsiteY1" fmla="*/ 1762221 h 6858541"/>
              <a:gd name="connsiteX2" fmla="*/ 0 w 1040749"/>
              <a:gd name="connsiteY2" fmla="*/ 6858541 h 6858541"/>
              <a:gd name="connsiteX3" fmla="*/ 225 w 1040749"/>
              <a:gd name="connsiteY3" fmla="*/ 0 h 6858541"/>
              <a:gd name="connsiteX0" fmla="*/ 225 w 1040749"/>
              <a:gd name="connsiteY0" fmla="*/ 0 h 6835083"/>
              <a:gd name="connsiteX1" fmla="*/ 1040749 w 1040749"/>
              <a:gd name="connsiteY1" fmla="*/ 1762221 h 6835083"/>
              <a:gd name="connsiteX2" fmla="*/ 0 w 1040749"/>
              <a:gd name="connsiteY2" fmla="*/ 6835083 h 6835083"/>
              <a:gd name="connsiteX3" fmla="*/ 225 w 1040749"/>
              <a:gd name="connsiteY3" fmla="*/ 0 h 6835083"/>
            </a:gdLst>
            <a:ahLst/>
            <a:cxnLst>
              <a:cxn ang="0">
                <a:pos x="connsiteX0" y="connsiteY0"/>
              </a:cxn>
              <a:cxn ang="0">
                <a:pos x="connsiteX1" y="connsiteY1"/>
              </a:cxn>
              <a:cxn ang="0">
                <a:pos x="connsiteX2" y="connsiteY2"/>
              </a:cxn>
              <a:cxn ang="0">
                <a:pos x="connsiteX3" y="connsiteY3"/>
              </a:cxn>
            </a:cxnLst>
            <a:rect l="l" t="t" r="r" b="b"/>
            <a:pathLst>
              <a:path w="1040749" h="6835083">
                <a:moveTo>
                  <a:pt x="225" y="0"/>
                </a:moveTo>
                <a:lnTo>
                  <a:pt x="1040749" y="1762221"/>
                </a:lnTo>
                <a:lnTo>
                  <a:pt x="0" y="6835083"/>
                </a:lnTo>
                <a:lnTo>
                  <a:pt x="225" y="0"/>
                </a:lnTo>
                <a:close/>
              </a:path>
            </a:pathLst>
          </a:custGeom>
          <a:gradFill>
            <a:gsLst>
              <a:gs pos="19000">
                <a:schemeClr val="accent2"/>
              </a:gs>
              <a:gs pos="94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5" name="Freeform 14"/>
          <p:cNvSpPr/>
          <p:nvPr/>
        </p:nvSpPr>
        <p:spPr>
          <a:xfrm>
            <a:off x="3119436" y="-1"/>
            <a:ext cx="3260163" cy="3022037"/>
          </a:xfrm>
          <a:custGeom>
            <a:avLst/>
            <a:gdLst>
              <a:gd name="connsiteX0" fmla="*/ 185737 w 3228975"/>
              <a:gd name="connsiteY0" fmla="*/ 0 h 3024188"/>
              <a:gd name="connsiteX1" fmla="*/ 0 w 3228975"/>
              <a:gd name="connsiteY1" fmla="*/ 1771650 h 3024188"/>
              <a:gd name="connsiteX2" fmla="*/ 3228975 w 3228975"/>
              <a:gd name="connsiteY2" fmla="*/ 3024188 h 3024188"/>
              <a:gd name="connsiteX3" fmla="*/ 185737 w 3228975"/>
              <a:gd name="connsiteY3"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1976437 w 3228975"/>
              <a:gd name="connsiteY3" fmla="*/ 1776413 h 3024188"/>
              <a:gd name="connsiteX4" fmla="*/ 185737 w 3228975"/>
              <a:gd name="connsiteY4"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2733674 w 3228975"/>
              <a:gd name="connsiteY3" fmla="*/ 1281113 h 3024188"/>
              <a:gd name="connsiteX4" fmla="*/ 185737 w 3228975"/>
              <a:gd name="connsiteY4" fmla="*/ 0 h 3024188"/>
              <a:gd name="connsiteX0" fmla="*/ 185737 w 3181350"/>
              <a:gd name="connsiteY0" fmla="*/ 0 h 2481263"/>
              <a:gd name="connsiteX1" fmla="*/ 0 w 3181350"/>
              <a:gd name="connsiteY1" fmla="*/ 1771650 h 2481263"/>
              <a:gd name="connsiteX2" fmla="*/ 3181350 w 3181350"/>
              <a:gd name="connsiteY2" fmla="*/ 2481263 h 2481263"/>
              <a:gd name="connsiteX3" fmla="*/ 2733674 w 3181350"/>
              <a:gd name="connsiteY3" fmla="*/ 1281113 h 2481263"/>
              <a:gd name="connsiteX4" fmla="*/ 185737 w 3181350"/>
              <a:gd name="connsiteY4" fmla="*/ 0 h 24812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1113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5876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185737 w 3214688"/>
              <a:gd name="connsiteY3" fmla="*/ 0 h 3014663"/>
              <a:gd name="connsiteX0" fmla="*/ 190500 w 3219451"/>
              <a:gd name="connsiteY0" fmla="*/ 0 h 3014663"/>
              <a:gd name="connsiteX1" fmla="*/ 0 w 3219451"/>
              <a:gd name="connsiteY1" fmla="*/ 1781175 h 3014663"/>
              <a:gd name="connsiteX2" fmla="*/ 3219451 w 3219451"/>
              <a:gd name="connsiteY2" fmla="*/ 3014663 h 3014663"/>
              <a:gd name="connsiteX3" fmla="*/ 190500 w 3219451"/>
              <a:gd name="connsiteY3" fmla="*/ 0 h 3014663"/>
              <a:gd name="connsiteX0" fmla="*/ 190500 w 3219451"/>
              <a:gd name="connsiteY0" fmla="*/ 0 h 3014663"/>
              <a:gd name="connsiteX1" fmla="*/ 0 w 3219451"/>
              <a:gd name="connsiteY1" fmla="*/ 1766887 h 3014663"/>
              <a:gd name="connsiteX2" fmla="*/ 3219451 w 3219451"/>
              <a:gd name="connsiteY2" fmla="*/ 3014663 h 3014663"/>
              <a:gd name="connsiteX3" fmla="*/ 190500 w 3219451"/>
              <a:gd name="connsiteY3" fmla="*/ 0 h 3014663"/>
              <a:gd name="connsiteX0" fmla="*/ 223838 w 3252789"/>
              <a:gd name="connsiteY0" fmla="*/ 0 h 3014663"/>
              <a:gd name="connsiteX1" fmla="*/ 0 w 3252789"/>
              <a:gd name="connsiteY1" fmla="*/ 1771650 h 3014663"/>
              <a:gd name="connsiteX2" fmla="*/ 3252789 w 3252789"/>
              <a:gd name="connsiteY2" fmla="*/ 3014663 h 3014663"/>
              <a:gd name="connsiteX3" fmla="*/ 223838 w 3252789"/>
              <a:gd name="connsiteY3" fmla="*/ 0 h 3014663"/>
              <a:gd name="connsiteX0" fmla="*/ 223838 w 3252789"/>
              <a:gd name="connsiteY0" fmla="*/ 0 h 3014663"/>
              <a:gd name="connsiteX1" fmla="*/ 0 w 3252789"/>
              <a:gd name="connsiteY1" fmla="*/ 1790700 h 3014663"/>
              <a:gd name="connsiteX2" fmla="*/ 3252789 w 3252789"/>
              <a:gd name="connsiteY2" fmla="*/ 3014663 h 3014663"/>
              <a:gd name="connsiteX3" fmla="*/ 223838 w 3252789"/>
              <a:gd name="connsiteY3" fmla="*/ 0 h 3014663"/>
              <a:gd name="connsiteX0" fmla="*/ 223838 w 3252789"/>
              <a:gd name="connsiteY0" fmla="*/ 0 h 3022037"/>
              <a:gd name="connsiteX1" fmla="*/ 0 w 3252789"/>
              <a:gd name="connsiteY1" fmla="*/ 1790700 h 3022037"/>
              <a:gd name="connsiteX2" fmla="*/ 3252789 w 3252789"/>
              <a:gd name="connsiteY2" fmla="*/ 3022037 h 3022037"/>
              <a:gd name="connsiteX3" fmla="*/ 223838 w 3252789"/>
              <a:gd name="connsiteY3" fmla="*/ 0 h 3022037"/>
              <a:gd name="connsiteX0" fmla="*/ 223838 w 3260163"/>
              <a:gd name="connsiteY0" fmla="*/ 0 h 3014663"/>
              <a:gd name="connsiteX1" fmla="*/ 0 w 3260163"/>
              <a:gd name="connsiteY1" fmla="*/ 1790700 h 3014663"/>
              <a:gd name="connsiteX2" fmla="*/ 3260163 w 3260163"/>
              <a:gd name="connsiteY2" fmla="*/ 3014663 h 3014663"/>
              <a:gd name="connsiteX3" fmla="*/ 223838 w 3260163"/>
              <a:gd name="connsiteY3" fmla="*/ 0 h 3014663"/>
              <a:gd name="connsiteX0" fmla="*/ 223838 w 3260163"/>
              <a:gd name="connsiteY0" fmla="*/ 0 h 3022037"/>
              <a:gd name="connsiteX1" fmla="*/ 0 w 3260163"/>
              <a:gd name="connsiteY1" fmla="*/ 1790700 h 3022037"/>
              <a:gd name="connsiteX2" fmla="*/ 3260163 w 3260163"/>
              <a:gd name="connsiteY2" fmla="*/ 3022037 h 3022037"/>
              <a:gd name="connsiteX3" fmla="*/ 223838 w 3260163"/>
              <a:gd name="connsiteY3" fmla="*/ 0 h 3022037"/>
            </a:gdLst>
            <a:ahLst/>
            <a:cxnLst>
              <a:cxn ang="0">
                <a:pos x="connsiteX0" y="connsiteY0"/>
              </a:cxn>
              <a:cxn ang="0">
                <a:pos x="connsiteX1" y="connsiteY1"/>
              </a:cxn>
              <a:cxn ang="0">
                <a:pos x="connsiteX2" y="connsiteY2"/>
              </a:cxn>
              <a:cxn ang="0">
                <a:pos x="connsiteX3" y="connsiteY3"/>
              </a:cxn>
            </a:cxnLst>
            <a:rect l="l" t="t" r="r" b="b"/>
            <a:pathLst>
              <a:path w="3260163" h="3022037">
                <a:moveTo>
                  <a:pt x="223838" y="0"/>
                </a:moveTo>
                <a:lnTo>
                  <a:pt x="0" y="1790700"/>
                </a:lnTo>
                <a:lnTo>
                  <a:pt x="3260163" y="3022037"/>
                </a:lnTo>
                <a:lnTo>
                  <a:pt x="223838" y="0"/>
                </a:lnTo>
                <a:close/>
              </a:path>
            </a:pathLst>
          </a:custGeom>
          <a:gradFill>
            <a:gsLst>
              <a:gs pos="58000">
                <a:schemeClr val="accent2"/>
              </a:gs>
              <a:gs pos="0">
                <a:schemeClr val="accent1"/>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6" name="Freeform 15"/>
          <p:cNvSpPr/>
          <p:nvPr/>
        </p:nvSpPr>
        <p:spPr>
          <a:xfrm>
            <a:off x="3343275" y="0"/>
            <a:ext cx="4337998" cy="3019426"/>
          </a:xfrm>
          <a:custGeom>
            <a:avLst/>
            <a:gdLst>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37998"/>
              <a:gd name="connsiteY0" fmla="*/ 0 h 3019426"/>
              <a:gd name="connsiteX1" fmla="*/ 4337998 w 4337998"/>
              <a:gd name="connsiteY1" fmla="*/ 1214438 h 3019426"/>
              <a:gd name="connsiteX2" fmla="*/ 3028950 w 4337998"/>
              <a:gd name="connsiteY2" fmla="*/ 3019426 h 3019426"/>
              <a:gd name="connsiteX3" fmla="*/ 0 w 4337998"/>
              <a:gd name="connsiteY3" fmla="*/ 0 h 3019426"/>
              <a:gd name="connsiteX0" fmla="*/ 0 w 4337998"/>
              <a:gd name="connsiteY0" fmla="*/ 0 h 3019426"/>
              <a:gd name="connsiteX1" fmla="*/ 4337998 w 4337998"/>
              <a:gd name="connsiteY1" fmla="*/ 1214438 h 3019426"/>
              <a:gd name="connsiteX2" fmla="*/ 3015303 w 4337998"/>
              <a:gd name="connsiteY2" fmla="*/ 3019426 h 3019426"/>
              <a:gd name="connsiteX3" fmla="*/ 0 w 4337998"/>
              <a:gd name="connsiteY3" fmla="*/ 0 h 3019426"/>
            </a:gdLst>
            <a:ahLst/>
            <a:cxnLst>
              <a:cxn ang="0">
                <a:pos x="connsiteX0" y="connsiteY0"/>
              </a:cxn>
              <a:cxn ang="0">
                <a:pos x="connsiteX1" y="connsiteY1"/>
              </a:cxn>
              <a:cxn ang="0">
                <a:pos x="connsiteX2" y="connsiteY2"/>
              </a:cxn>
              <a:cxn ang="0">
                <a:pos x="connsiteX3" y="connsiteY3"/>
              </a:cxn>
            </a:cxnLst>
            <a:rect l="l" t="t" r="r" b="b"/>
            <a:pathLst>
              <a:path w="4337998" h="3019426">
                <a:moveTo>
                  <a:pt x="0" y="0"/>
                </a:moveTo>
                <a:lnTo>
                  <a:pt x="4337998" y="1214438"/>
                </a:lnTo>
                <a:lnTo>
                  <a:pt x="3015303" y="3019426"/>
                </a:lnTo>
                <a:lnTo>
                  <a:pt x="0" y="0"/>
                </a:lnTo>
                <a:close/>
              </a:path>
            </a:pathLst>
          </a:custGeom>
          <a:gradFill>
            <a:gsLst>
              <a:gs pos="10000">
                <a:schemeClr val="accent2"/>
              </a:gs>
              <a:gs pos="100000">
                <a:schemeClr val="accent1"/>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r>
              <a:rPr lang="en-US" sz="2000"/>
              <a:t>s</a:t>
            </a:r>
            <a:endParaRPr lang="en-US" sz="2000" dirty="0"/>
          </a:p>
        </p:txBody>
      </p:sp>
      <p:sp>
        <p:nvSpPr>
          <p:cNvPr id="17" name="Freeform 16"/>
          <p:cNvSpPr/>
          <p:nvPr/>
        </p:nvSpPr>
        <p:spPr>
          <a:xfrm>
            <a:off x="7667625" y="1"/>
            <a:ext cx="4524375" cy="1214438"/>
          </a:xfrm>
          <a:custGeom>
            <a:avLst/>
            <a:gdLst>
              <a:gd name="connsiteX0" fmla="*/ 3367088 w 4524375"/>
              <a:gd name="connsiteY0" fmla="*/ 0 h 1223963"/>
              <a:gd name="connsiteX1" fmla="*/ 0 w 4524375"/>
              <a:gd name="connsiteY1" fmla="*/ 1223963 h 1223963"/>
              <a:gd name="connsiteX2" fmla="*/ 4524375 w 4524375"/>
              <a:gd name="connsiteY2" fmla="*/ 1071563 h 1223963"/>
              <a:gd name="connsiteX3" fmla="*/ 3367088 w 4524375"/>
              <a:gd name="connsiteY3" fmla="*/ 0 h 1223963"/>
              <a:gd name="connsiteX0" fmla="*/ 3352800 w 4524375"/>
              <a:gd name="connsiteY0" fmla="*/ 0 h 1233489"/>
              <a:gd name="connsiteX1" fmla="*/ 0 w 4524375"/>
              <a:gd name="connsiteY1" fmla="*/ 1233489 h 1233489"/>
              <a:gd name="connsiteX2" fmla="*/ 4524375 w 4524375"/>
              <a:gd name="connsiteY2" fmla="*/ 1081089 h 1233489"/>
              <a:gd name="connsiteX3" fmla="*/ 3352800 w 4524375"/>
              <a:gd name="connsiteY3" fmla="*/ 0 h 1233489"/>
              <a:gd name="connsiteX0" fmla="*/ 3352800 w 4524375"/>
              <a:gd name="connsiteY0" fmla="*/ 0 h 1228726"/>
              <a:gd name="connsiteX1" fmla="*/ 0 w 4524375"/>
              <a:gd name="connsiteY1" fmla="*/ 1228726 h 1228726"/>
              <a:gd name="connsiteX2" fmla="*/ 4524375 w 4524375"/>
              <a:gd name="connsiteY2" fmla="*/ 1076326 h 1228726"/>
              <a:gd name="connsiteX3" fmla="*/ 3352800 w 4524375"/>
              <a:gd name="connsiteY3" fmla="*/ 0 h 1228726"/>
              <a:gd name="connsiteX0" fmla="*/ 3357563 w 4524375"/>
              <a:gd name="connsiteY0" fmla="*/ 0 h 1223963"/>
              <a:gd name="connsiteX1" fmla="*/ 0 w 4524375"/>
              <a:gd name="connsiteY1" fmla="*/ 1223963 h 1223963"/>
              <a:gd name="connsiteX2" fmla="*/ 4524375 w 4524375"/>
              <a:gd name="connsiteY2" fmla="*/ 1071563 h 1223963"/>
              <a:gd name="connsiteX3" fmla="*/ 3357563 w 4524375"/>
              <a:gd name="connsiteY3" fmla="*/ 0 h 1223963"/>
              <a:gd name="connsiteX0" fmla="*/ 3371851 w 4538663"/>
              <a:gd name="connsiteY0" fmla="*/ 0 h 1219200"/>
              <a:gd name="connsiteX1" fmla="*/ 0 w 4538663"/>
              <a:gd name="connsiteY1" fmla="*/ 1219200 h 1219200"/>
              <a:gd name="connsiteX2" fmla="*/ 4538663 w 4538663"/>
              <a:gd name="connsiteY2" fmla="*/ 1071563 h 1219200"/>
              <a:gd name="connsiteX3" fmla="*/ 3371851 w 4538663"/>
              <a:gd name="connsiteY3" fmla="*/ 0 h 1219200"/>
              <a:gd name="connsiteX0" fmla="*/ 3243264 w 4410076"/>
              <a:gd name="connsiteY0" fmla="*/ 0 h 1071563"/>
              <a:gd name="connsiteX1" fmla="*/ 0 w 4410076"/>
              <a:gd name="connsiteY1" fmla="*/ 1033463 h 1071563"/>
              <a:gd name="connsiteX2" fmla="*/ 4410076 w 4410076"/>
              <a:gd name="connsiteY2" fmla="*/ 1071563 h 1071563"/>
              <a:gd name="connsiteX3" fmla="*/ 3243264 w 4410076"/>
              <a:gd name="connsiteY3" fmla="*/ 0 h 1071563"/>
              <a:gd name="connsiteX0" fmla="*/ 3352801 w 4519613"/>
              <a:gd name="connsiteY0" fmla="*/ 0 h 1214438"/>
              <a:gd name="connsiteX1" fmla="*/ 0 w 4519613"/>
              <a:gd name="connsiteY1" fmla="*/ 1214438 h 1214438"/>
              <a:gd name="connsiteX2" fmla="*/ 4519613 w 4519613"/>
              <a:gd name="connsiteY2" fmla="*/ 1071563 h 1214438"/>
              <a:gd name="connsiteX3" fmla="*/ 3352801 w 4519613"/>
              <a:gd name="connsiteY3" fmla="*/ 0 h 1214438"/>
              <a:gd name="connsiteX0" fmla="*/ 3352801 w 4533261"/>
              <a:gd name="connsiteY0" fmla="*/ 0 h 1214438"/>
              <a:gd name="connsiteX1" fmla="*/ 0 w 4533261"/>
              <a:gd name="connsiteY1" fmla="*/ 1214438 h 1214438"/>
              <a:gd name="connsiteX2" fmla="*/ 4533261 w 4533261"/>
              <a:gd name="connsiteY2" fmla="*/ 1071563 h 1214438"/>
              <a:gd name="connsiteX3" fmla="*/ 3352801 w 4533261"/>
              <a:gd name="connsiteY3" fmla="*/ 0 h 1214438"/>
              <a:gd name="connsiteX0" fmla="*/ 3352801 w 4533261"/>
              <a:gd name="connsiteY0" fmla="*/ 0 h 1214438"/>
              <a:gd name="connsiteX1" fmla="*/ 0 w 4533261"/>
              <a:gd name="connsiteY1" fmla="*/ 1214438 h 1214438"/>
              <a:gd name="connsiteX2" fmla="*/ 4533261 w 4533261"/>
              <a:gd name="connsiteY2" fmla="*/ 1098859 h 1214438"/>
              <a:gd name="connsiteX3" fmla="*/ 3352801 w 4533261"/>
              <a:gd name="connsiteY3" fmla="*/ 0 h 1214438"/>
            </a:gdLst>
            <a:ahLst/>
            <a:cxnLst>
              <a:cxn ang="0">
                <a:pos x="connsiteX0" y="connsiteY0"/>
              </a:cxn>
              <a:cxn ang="0">
                <a:pos x="connsiteX1" y="connsiteY1"/>
              </a:cxn>
              <a:cxn ang="0">
                <a:pos x="connsiteX2" y="connsiteY2"/>
              </a:cxn>
              <a:cxn ang="0">
                <a:pos x="connsiteX3" y="connsiteY3"/>
              </a:cxn>
            </a:cxnLst>
            <a:rect l="l" t="t" r="r" b="b"/>
            <a:pathLst>
              <a:path w="4533261" h="1214438">
                <a:moveTo>
                  <a:pt x="3352801" y="0"/>
                </a:moveTo>
                <a:lnTo>
                  <a:pt x="0" y="1214438"/>
                </a:lnTo>
                <a:lnTo>
                  <a:pt x="4533261" y="1098859"/>
                </a:lnTo>
                <a:lnTo>
                  <a:pt x="3352801" y="0"/>
                </a:lnTo>
                <a:close/>
              </a:path>
            </a:pathLst>
          </a:custGeom>
          <a:gradFill>
            <a:gsLst>
              <a:gs pos="15000">
                <a:schemeClr val="accent2"/>
              </a:gs>
              <a:gs pos="100000">
                <a:schemeClr val="accent1"/>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8" name="Freeform 17"/>
          <p:cNvSpPr/>
          <p:nvPr/>
        </p:nvSpPr>
        <p:spPr>
          <a:xfrm>
            <a:off x="11015664" y="1"/>
            <a:ext cx="1176841" cy="1098080"/>
          </a:xfrm>
          <a:custGeom>
            <a:avLst/>
            <a:gdLst>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6299"/>
              <a:gd name="connsiteY0" fmla="*/ 0 h 1085850"/>
              <a:gd name="connsiteX1" fmla="*/ 1176299 w 1176299"/>
              <a:gd name="connsiteY1" fmla="*/ 1085850 h 1085850"/>
              <a:gd name="connsiteX2" fmla="*/ 1171575 w 1176299"/>
              <a:gd name="connsiteY2" fmla="*/ 0 h 1085850"/>
              <a:gd name="connsiteX3" fmla="*/ 0 w 1176299"/>
              <a:gd name="connsiteY3" fmla="*/ 0 h 1085850"/>
              <a:gd name="connsiteX0" fmla="*/ 0 w 1181344"/>
              <a:gd name="connsiteY0" fmla="*/ 0 h 1085850"/>
              <a:gd name="connsiteX1" fmla="*/ 1176299 w 1181344"/>
              <a:gd name="connsiteY1" fmla="*/ 1085850 h 1085850"/>
              <a:gd name="connsiteX2" fmla="*/ 1181138 w 1181344"/>
              <a:gd name="connsiteY2" fmla="*/ 0 h 1085850"/>
              <a:gd name="connsiteX3" fmla="*/ 0 w 1181344"/>
              <a:gd name="connsiteY3" fmla="*/ 0 h 1085850"/>
              <a:gd name="connsiteX0" fmla="*/ 0 w 1181586"/>
              <a:gd name="connsiteY0" fmla="*/ 0 h 1081088"/>
              <a:gd name="connsiteX1" fmla="*/ 1181080 w 1181586"/>
              <a:gd name="connsiteY1" fmla="*/ 1081088 h 1081088"/>
              <a:gd name="connsiteX2" fmla="*/ 1181138 w 1181586"/>
              <a:gd name="connsiteY2" fmla="*/ 0 h 1081088"/>
              <a:gd name="connsiteX3" fmla="*/ 0 w 1181586"/>
              <a:gd name="connsiteY3" fmla="*/ 0 h 1081088"/>
              <a:gd name="connsiteX0" fmla="*/ 0 w 1181586"/>
              <a:gd name="connsiteY0" fmla="*/ 0 h 1070785"/>
              <a:gd name="connsiteX1" fmla="*/ 1181080 w 1181586"/>
              <a:gd name="connsiteY1" fmla="*/ 1070785 h 1070785"/>
              <a:gd name="connsiteX2" fmla="*/ 1181138 w 1181586"/>
              <a:gd name="connsiteY2" fmla="*/ 0 h 1070785"/>
              <a:gd name="connsiteX3" fmla="*/ 0 w 1181586"/>
              <a:gd name="connsiteY3" fmla="*/ 0 h 1070785"/>
              <a:gd name="connsiteX0" fmla="*/ 0 w 1181152"/>
              <a:gd name="connsiteY0" fmla="*/ 0 h 593113"/>
              <a:gd name="connsiteX1" fmla="*/ 1057755 w 1181152"/>
              <a:gd name="connsiteY1" fmla="*/ 593113 h 593113"/>
              <a:gd name="connsiteX2" fmla="*/ 1181138 w 1181152"/>
              <a:gd name="connsiteY2" fmla="*/ 0 h 593113"/>
              <a:gd name="connsiteX3" fmla="*/ 0 w 1181152"/>
              <a:gd name="connsiteY3" fmla="*/ 0 h 593113"/>
              <a:gd name="connsiteX0" fmla="*/ 0 w 1181586"/>
              <a:gd name="connsiteY0" fmla="*/ 0 h 1098080"/>
              <a:gd name="connsiteX1" fmla="*/ 1181081 w 1181586"/>
              <a:gd name="connsiteY1" fmla="*/ 1098080 h 1098080"/>
              <a:gd name="connsiteX2" fmla="*/ 1181138 w 1181586"/>
              <a:gd name="connsiteY2" fmla="*/ 0 h 1098080"/>
              <a:gd name="connsiteX3" fmla="*/ 0 w 1181586"/>
              <a:gd name="connsiteY3" fmla="*/ 0 h 1098080"/>
            </a:gdLst>
            <a:ahLst/>
            <a:cxnLst>
              <a:cxn ang="0">
                <a:pos x="connsiteX0" y="connsiteY0"/>
              </a:cxn>
              <a:cxn ang="0">
                <a:pos x="connsiteX1" y="connsiteY1"/>
              </a:cxn>
              <a:cxn ang="0">
                <a:pos x="connsiteX2" y="connsiteY2"/>
              </a:cxn>
              <a:cxn ang="0">
                <a:pos x="connsiteX3" y="connsiteY3"/>
              </a:cxn>
            </a:cxnLst>
            <a:rect l="l" t="t" r="r" b="b"/>
            <a:pathLst>
              <a:path w="1181586" h="1098080">
                <a:moveTo>
                  <a:pt x="0" y="0"/>
                </a:moveTo>
                <a:lnTo>
                  <a:pt x="1181081" y="1098080"/>
                </a:lnTo>
                <a:cubicBezTo>
                  <a:pt x="1179506" y="736130"/>
                  <a:pt x="1182713" y="361950"/>
                  <a:pt x="1181138" y="0"/>
                </a:cubicBezTo>
                <a:lnTo>
                  <a:pt x="0" y="0"/>
                </a:lnTo>
                <a:close/>
              </a:path>
            </a:pathLst>
          </a:custGeom>
          <a:gradFill>
            <a:gsLst>
              <a:gs pos="23000">
                <a:schemeClr val="accent1"/>
              </a:gs>
              <a:gs pos="100000">
                <a:schemeClr val="accent2"/>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9" name="Freeform 18"/>
          <p:cNvSpPr/>
          <p:nvPr/>
        </p:nvSpPr>
        <p:spPr>
          <a:xfrm>
            <a:off x="10959906" y="1057275"/>
            <a:ext cx="1232552" cy="3276600"/>
          </a:xfrm>
          <a:custGeom>
            <a:avLst/>
            <a:gdLst>
              <a:gd name="connsiteX0" fmla="*/ 1171575 w 1176337"/>
              <a:gd name="connsiteY0" fmla="*/ 0 h 3267075"/>
              <a:gd name="connsiteX1" fmla="*/ 0 w 1176337"/>
              <a:gd name="connsiteY1" fmla="*/ 2762250 h 3267075"/>
              <a:gd name="connsiteX2" fmla="*/ 1176337 w 1176337"/>
              <a:gd name="connsiteY2" fmla="*/ 3267075 h 3267075"/>
              <a:gd name="connsiteX3" fmla="*/ 1171575 w 1176337"/>
              <a:gd name="connsiteY3" fmla="*/ 0 h 3267075"/>
              <a:gd name="connsiteX0" fmla="*/ 1176337 w 1176795"/>
              <a:gd name="connsiteY0" fmla="*/ 0 h 3276600"/>
              <a:gd name="connsiteX1" fmla="*/ 0 w 1176795"/>
              <a:gd name="connsiteY1" fmla="*/ 2771775 h 3276600"/>
              <a:gd name="connsiteX2" fmla="*/ 1176337 w 1176795"/>
              <a:gd name="connsiteY2" fmla="*/ 3276600 h 3276600"/>
              <a:gd name="connsiteX3" fmla="*/ 1176337 w 1176795"/>
              <a:gd name="connsiteY3" fmla="*/ 0 h 3276600"/>
              <a:gd name="connsiteX0" fmla="*/ 1209791 w 1210249"/>
              <a:gd name="connsiteY0" fmla="*/ 0 h 3276600"/>
              <a:gd name="connsiteX1" fmla="*/ 0 w 1210249"/>
              <a:gd name="connsiteY1" fmla="*/ 2771775 h 3276600"/>
              <a:gd name="connsiteX2" fmla="*/ 1209791 w 1210249"/>
              <a:gd name="connsiteY2" fmla="*/ 3276600 h 3276600"/>
              <a:gd name="connsiteX3" fmla="*/ 1209791 w 1210249"/>
              <a:gd name="connsiteY3" fmla="*/ 0 h 3276600"/>
              <a:gd name="connsiteX0" fmla="*/ 1232094 w 1232552"/>
              <a:gd name="connsiteY0" fmla="*/ 0 h 3276600"/>
              <a:gd name="connsiteX1" fmla="*/ 0 w 1232552"/>
              <a:gd name="connsiteY1" fmla="*/ 2749472 h 3276600"/>
              <a:gd name="connsiteX2" fmla="*/ 1232094 w 1232552"/>
              <a:gd name="connsiteY2" fmla="*/ 3276600 h 3276600"/>
              <a:gd name="connsiteX3" fmla="*/ 1232094 w 1232552"/>
              <a:gd name="connsiteY3" fmla="*/ 0 h 3276600"/>
            </a:gdLst>
            <a:ahLst/>
            <a:cxnLst>
              <a:cxn ang="0">
                <a:pos x="connsiteX0" y="connsiteY0"/>
              </a:cxn>
              <a:cxn ang="0">
                <a:pos x="connsiteX1" y="connsiteY1"/>
              </a:cxn>
              <a:cxn ang="0">
                <a:pos x="connsiteX2" y="connsiteY2"/>
              </a:cxn>
              <a:cxn ang="0">
                <a:pos x="connsiteX3" y="connsiteY3"/>
              </a:cxn>
            </a:cxnLst>
            <a:rect l="l" t="t" r="r" b="b"/>
            <a:pathLst>
              <a:path w="1232552" h="3276600">
                <a:moveTo>
                  <a:pt x="1232094" y="0"/>
                </a:moveTo>
                <a:lnTo>
                  <a:pt x="0" y="2749472"/>
                </a:lnTo>
                <a:lnTo>
                  <a:pt x="1232094" y="3276600"/>
                </a:lnTo>
                <a:cubicBezTo>
                  <a:pt x="1230507" y="2187575"/>
                  <a:pt x="1233681" y="1089025"/>
                  <a:pt x="1232094" y="0"/>
                </a:cubicBezTo>
                <a:close/>
              </a:path>
            </a:pathLst>
          </a:custGeom>
          <a:gradFill>
            <a:gsLst>
              <a:gs pos="21000">
                <a:schemeClr val="accent1"/>
              </a:gs>
              <a:gs pos="100000">
                <a:schemeClr val="accent2"/>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0" name="Freeform 19"/>
          <p:cNvSpPr/>
          <p:nvPr/>
        </p:nvSpPr>
        <p:spPr>
          <a:xfrm>
            <a:off x="6366969" y="2428875"/>
            <a:ext cx="3339005" cy="2271713"/>
          </a:xfrm>
          <a:custGeom>
            <a:avLst/>
            <a:gdLst>
              <a:gd name="connsiteX0" fmla="*/ 0 w 3324225"/>
              <a:gd name="connsiteY0" fmla="*/ 590550 h 2271713"/>
              <a:gd name="connsiteX1" fmla="*/ 1343025 w 3324225"/>
              <a:gd name="connsiteY1" fmla="*/ 2271713 h 2271713"/>
              <a:gd name="connsiteX2" fmla="*/ 3324225 w 3324225"/>
              <a:gd name="connsiteY2" fmla="*/ 0 h 2271713"/>
              <a:gd name="connsiteX3" fmla="*/ 0 w 3324225"/>
              <a:gd name="connsiteY3" fmla="*/ 590550 h 2271713"/>
              <a:gd name="connsiteX0" fmla="*/ 0 w 3333750"/>
              <a:gd name="connsiteY0" fmla="*/ 585787 h 2271713"/>
              <a:gd name="connsiteX1" fmla="*/ 1352550 w 3333750"/>
              <a:gd name="connsiteY1" fmla="*/ 2271713 h 2271713"/>
              <a:gd name="connsiteX2" fmla="*/ 3333750 w 3333750"/>
              <a:gd name="connsiteY2" fmla="*/ 0 h 2271713"/>
              <a:gd name="connsiteX3" fmla="*/ 0 w 3333750"/>
              <a:gd name="connsiteY3" fmla="*/ 585787 h 2271713"/>
              <a:gd name="connsiteX0" fmla="*/ 0 w 3333750"/>
              <a:gd name="connsiteY0" fmla="*/ 591043 h 2271713"/>
              <a:gd name="connsiteX1" fmla="*/ 1352550 w 3333750"/>
              <a:gd name="connsiteY1" fmla="*/ 2271713 h 2271713"/>
              <a:gd name="connsiteX2" fmla="*/ 3333750 w 3333750"/>
              <a:gd name="connsiteY2" fmla="*/ 0 h 2271713"/>
              <a:gd name="connsiteX3" fmla="*/ 0 w 3333750"/>
              <a:gd name="connsiteY3" fmla="*/ 591043 h 2271713"/>
              <a:gd name="connsiteX0" fmla="*/ 0 w 3339005"/>
              <a:gd name="connsiteY0" fmla="*/ 591043 h 2271713"/>
              <a:gd name="connsiteX1" fmla="*/ 1357805 w 3339005"/>
              <a:gd name="connsiteY1" fmla="*/ 2271713 h 2271713"/>
              <a:gd name="connsiteX2" fmla="*/ 3339005 w 3339005"/>
              <a:gd name="connsiteY2" fmla="*/ 0 h 2271713"/>
              <a:gd name="connsiteX3" fmla="*/ 0 w 3339005"/>
              <a:gd name="connsiteY3" fmla="*/ 591043 h 2271713"/>
            </a:gdLst>
            <a:ahLst/>
            <a:cxnLst>
              <a:cxn ang="0">
                <a:pos x="connsiteX0" y="connsiteY0"/>
              </a:cxn>
              <a:cxn ang="0">
                <a:pos x="connsiteX1" y="connsiteY1"/>
              </a:cxn>
              <a:cxn ang="0">
                <a:pos x="connsiteX2" y="connsiteY2"/>
              </a:cxn>
              <a:cxn ang="0">
                <a:pos x="connsiteX3" y="connsiteY3"/>
              </a:cxn>
            </a:cxnLst>
            <a:rect l="l" t="t" r="r" b="b"/>
            <a:pathLst>
              <a:path w="3339005" h="2271713">
                <a:moveTo>
                  <a:pt x="0" y="591043"/>
                </a:moveTo>
                <a:lnTo>
                  <a:pt x="1357805" y="2271713"/>
                </a:lnTo>
                <a:lnTo>
                  <a:pt x="3339005" y="0"/>
                </a:lnTo>
                <a:lnTo>
                  <a:pt x="0" y="591043"/>
                </a:lnTo>
                <a:close/>
              </a:path>
            </a:pathLst>
          </a:custGeom>
          <a:gradFill>
            <a:gsLst>
              <a:gs pos="0">
                <a:schemeClr val="accent1"/>
              </a:gs>
              <a:gs pos="87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1" name="Freeform 20"/>
          <p:cNvSpPr/>
          <p:nvPr/>
        </p:nvSpPr>
        <p:spPr>
          <a:xfrm>
            <a:off x="1025774" y="1761707"/>
            <a:ext cx="2098477" cy="1910094"/>
          </a:xfrm>
          <a:custGeom>
            <a:avLst/>
            <a:gdLst>
              <a:gd name="connsiteX0" fmla="*/ 2086304 w 2086304"/>
              <a:gd name="connsiteY0" fmla="*/ 0 h 1886607"/>
              <a:gd name="connsiteX1" fmla="*/ 0 w 2086304"/>
              <a:gd name="connsiteY1" fmla="*/ 15765 h 1886607"/>
              <a:gd name="connsiteX2" fmla="*/ 362607 w 2086304"/>
              <a:gd name="connsiteY2" fmla="*/ 1886607 h 1886607"/>
              <a:gd name="connsiteX3" fmla="*/ 2086304 w 2086304"/>
              <a:gd name="connsiteY3" fmla="*/ 0 h 1886607"/>
              <a:gd name="connsiteX0" fmla="*/ 2101053 w 2101053"/>
              <a:gd name="connsiteY0" fmla="*/ 0 h 1886607"/>
              <a:gd name="connsiteX1" fmla="*/ 0 w 2101053"/>
              <a:gd name="connsiteY1" fmla="*/ 1207 h 1886607"/>
              <a:gd name="connsiteX2" fmla="*/ 377356 w 2101053"/>
              <a:gd name="connsiteY2" fmla="*/ 1886607 h 1886607"/>
              <a:gd name="connsiteX3" fmla="*/ 2101053 w 2101053"/>
              <a:gd name="connsiteY3" fmla="*/ 0 h 1886607"/>
              <a:gd name="connsiteX0" fmla="*/ 2098477 w 2098477"/>
              <a:gd name="connsiteY0" fmla="*/ 8963 h 1885400"/>
              <a:gd name="connsiteX1" fmla="*/ 0 w 2098477"/>
              <a:gd name="connsiteY1" fmla="*/ 0 h 1885400"/>
              <a:gd name="connsiteX2" fmla="*/ 377356 w 2098477"/>
              <a:gd name="connsiteY2" fmla="*/ 1885400 h 1885400"/>
              <a:gd name="connsiteX3" fmla="*/ 2098477 w 2098477"/>
              <a:gd name="connsiteY3" fmla="*/ 8963 h 1885400"/>
            </a:gdLst>
            <a:ahLst/>
            <a:cxnLst>
              <a:cxn ang="0">
                <a:pos x="connsiteX0" y="connsiteY0"/>
              </a:cxn>
              <a:cxn ang="0">
                <a:pos x="connsiteX1" y="connsiteY1"/>
              </a:cxn>
              <a:cxn ang="0">
                <a:pos x="connsiteX2" y="connsiteY2"/>
              </a:cxn>
              <a:cxn ang="0">
                <a:pos x="connsiteX3" y="connsiteY3"/>
              </a:cxn>
            </a:cxnLst>
            <a:rect l="l" t="t" r="r" b="b"/>
            <a:pathLst>
              <a:path w="2098477" h="1885400">
                <a:moveTo>
                  <a:pt x="2098477" y="8963"/>
                </a:moveTo>
                <a:lnTo>
                  <a:pt x="0" y="0"/>
                </a:lnTo>
                <a:lnTo>
                  <a:pt x="377356" y="1885400"/>
                </a:lnTo>
                <a:lnTo>
                  <a:pt x="2098477" y="8963"/>
                </a:lnTo>
                <a:close/>
              </a:path>
            </a:pathLst>
          </a:custGeom>
          <a:gradFill>
            <a:gsLst>
              <a:gs pos="8000">
                <a:schemeClr val="accent2"/>
              </a:gs>
              <a:gs pos="90000">
                <a:schemeClr val="accent1"/>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2" name="Freeform 21"/>
          <p:cNvSpPr/>
          <p:nvPr/>
        </p:nvSpPr>
        <p:spPr>
          <a:xfrm>
            <a:off x="3532" y="4857972"/>
            <a:ext cx="4090198" cy="2007612"/>
          </a:xfrm>
          <a:custGeom>
            <a:avLst/>
            <a:gdLst>
              <a:gd name="connsiteX0" fmla="*/ 3576398 w 4077729"/>
              <a:gd name="connsiteY0" fmla="*/ 0 h 1994733"/>
              <a:gd name="connsiteX1" fmla="*/ 4077729 w 4077729"/>
              <a:gd name="connsiteY1" fmla="*/ 1101516 h 1994733"/>
              <a:gd name="connsiteX2" fmla="*/ 0 w 4077729"/>
              <a:gd name="connsiteY2" fmla="*/ 1994733 h 1994733"/>
              <a:gd name="connsiteX3" fmla="*/ 3576398 w 4077729"/>
              <a:gd name="connsiteY3" fmla="*/ 0 h 1994733"/>
              <a:gd name="connsiteX0" fmla="*/ 3576398 w 4086042"/>
              <a:gd name="connsiteY0" fmla="*/ 0 h 1994733"/>
              <a:gd name="connsiteX1" fmla="*/ 4086042 w 4086042"/>
              <a:gd name="connsiteY1" fmla="*/ 1093204 h 1994733"/>
              <a:gd name="connsiteX2" fmla="*/ 0 w 4086042"/>
              <a:gd name="connsiteY2" fmla="*/ 1994733 h 1994733"/>
              <a:gd name="connsiteX3" fmla="*/ 3576398 w 4086042"/>
              <a:gd name="connsiteY3" fmla="*/ 0 h 1994733"/>
              <a:gd name="connsiteX0" fmla="*/ 3576398 w 4090198"/>
              <a:gd name="connsiteY0" fmla="*/ 0 h 1994733"/>
              <a:gd name="connsiteX1" fmla="*/ 4090198 w 4090198"/>
              <a:gd name="connsiteY1" fmla="*/ 1084892 h 1994733"/>
              <a:gd name="connsiteX2" fmla="*/ 0 w 4090198"/>
              <a:gd name="connsiteY2" fmla="*/ 1994733 h 1994733"/>
              <a:gd name="connsiteX3" fmla="*/ 3576398 w 4090198"/>
              <a:gd name="connsiteY3" fmla="*/ 0 h 1994733"/>
              <a:gd name="connsiteX0" fmla="*/ 3576398 w 4090198"/>
              <a:gd name="connsiteY0" fmla="*/ 0 h 2007612"/>
              <a:gd name="connsiteX1" fmla="*/ 4090198 w 4090198"/>
              <a:gd name="connsiteY1" fmla="*/ 1084892 h 2007612"/>
              <a:gd name="connsiteX2" fmla="*/ 0 w 4090198"/>
              <a:gd name="connsiteY2" fmla="*/ 2007612 h 2007612"/>
              <a:gd name="connsiteX3" fmla="*/ 3576398 w 4090198"/>
              <a:gd name="connsiteY3" fmla="*/ 0 h 2007612"/>
            </a:gdLst>
            <a:ahLst/>
            <a:cxnLst>
              <a:cxn ang="0">
                <a:pos x="connsiteX0" y="connsiteY0"/>
              </a:cxn>
              <a:cxn ang="0">
                <a:pos x="connsiteX1" y="connsiteY1"/>
              </a:cxn>
              <a:cxn ang="0">
                <a:pos x="connsiteX2" y="connsiteY2"/>
              </a:cxn>
              <a:cxn ang="0">
                <a:pos x="connsiteX3" y="connsiteY3"/>
              </a:cxn>
            </a:cxnLst>
            <a:rect l="l" t="t" r="r" b="b"/>
            <a:pathLst>
              <a:path w="4090198" h="2007612">
                <a:moveTo>
                  <a:pt x="3576398" y="0"/>
                </a:moveTo>
                <a:lnTo>
                  <a:pt x="4090198" y="1084892"/>
                </a:lnTo>
                <a:lnTo>
                  <a:pt x="0" y="2007612"/>
                </a:lnTo>
                <a:lnTo>
                  <a:pt x="3576398" y="0"/>
                </a:lnTo>
                <a:close/>
              </a:path>
            </a:pathLst>
          </a:custGeom>
          <a:gradFill>
            <a:gsLst>
              <a:gs pos="15000">
                <a:schemeClr val="accent1"/>
              </a:gs>
              <a:gs pos="100000">
                <a:schemeClr val="accent2"/>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3" name="Freeform 22"/>
          <p:cNvSpPr/>
          <p:nvPr/>
        </p:nvSpPr>
        <p:spPr>
          <a:xfrm>
            <a:off x="-6301" y="5938309"/>
            <a:ext cx="4092304" cy="924304"/>
          </a:xfrm>
          <a:custGeom>
            <a:avLst/>
            <a:gdLst>
              <a:gd name="connsiteX0" fmla="*/ 4074199 w 4074199"/>
              <a:gd name="connsiteY0" fmla="*/ 0 h 907339"/>
              <a:gd name="connsiteX1" fmla="*/ 3357507 w 4074199"/>
              <a:gd name="connsiteY1" fmla="*/ 907339 h 907339"/>
              <a:gd name="connsiteX2" fmla="*/ 0 w 4074199"/>
              <a:gd name="connsiteY2" fmla="*/ 907339 h 907339"/>
              <a:gd name="connsiteX3" fmla="*/ 4074199 w 4074199"/>
              <a:gd name="connsiteY3" fmla="*/ 0 h 907339"/>
              <a:gd name="connsiteX0" fmla="*/ 4084791 w 4084791"/>
              <a:gd name="connsiteY0" fmla="*/ 0 h 907339"/>
              <a:gd name="connsiteX1" fmla="*/ 3368099 w 4084791"/>
              <a:gd name="connsiteY1" fmla="*/ 907339 h 907339"/>
              <a:gd name="connsiteX2" fmla="*/ 0 w 4084791"/>
              <a:gd name="connsiteY2" fmla="*/ 907339 h 907339"/>
              <a:gd name="connsiteX3" fmla="*/ 4084791 w 4084791"/>
              <a:gd name="connsiteY3" fmla="*/ 0 h 907339"/>
              <a:gd name="connsiteX0" fmla="*/ 4100031 w 4100031"/>
              <a:gd name="connsiteY0" fmla="*/ 0 h 907339"/>
              <a:gd name="connsiteX1" fmla="*/ 3368099 w 4100031"/>
              <a:gd name="connsiteY1" fmla="*/ 907339 h 907339"/>
              <a:gd name="connsiteX2" fmla="*/ 0 w 4100031"/>
              <a:gd name="connsiteY2" fmla="*/ 907339 h 907339"/>
              <a:gd name="connsiteX3" fmla="*/ 4100031 w 4100031"/>
              <a:gd name="connsiteY3" fmla="*/ 0 h 907339"/>
              <a:gd name="connsiteX0" fmla="*/ 4102607 w 4102607"/>
              <a:gd name="connsiteY0" fmla="*/ 0 h 907339"/>
              <a:gd name="connsiteX1" fmla="*/ 3370675 w 4102607"/>
              <a:gd name="connsiteY1" fmla="*/ 907339 h 907339"/>
              <a:gd name="connsiteX2" fmla="*/ 0 w 4102607"/>
              <a:gd name="connsiteY2" fmla="*/ 857464 h 907339"/>
              <a:gd name="connsiteX3" fmla="*/ 4102607 w 4102607"/>
              <a:gd name="connsiteY3" fmla="*/ 0 h 907339"/>
              <a:gd name="connsiteX0" fmla="*/ 4097455 w 4097455"/>
              <a:gd name="connsiteY0" fmla="*/ 0 h 907339"/>
              <a:gd name="connsiteX1" fmla="*/ 3365523 w 4097455"/>
              <a:gd name="connsiteY1" fmla="*/ 907339 h 907339"/>
              <a:gd name="connsiteX2" fmla="*/ 0 w 4097455"/>
              <a:gd name="connsiteY2" fmla="*/ 859958 h 907339"/>
              <a:gd name="connsiteX3" fmla="*/ 4097455 w 4097455"/>
              <a:gd name="connsiteY3" fmla="*/ 0 h 907339"/>
              <a:gd name="connsiteX0" fmla="*/ 4097455 w 4097455"/>
              <a:gd name="connsiteY0" fmla="*/ 0 h 862451"/>
              <a:gd name="connsiteX1" fmla="*/ 3411887 w 4097455"/>
              <a:gd name="connsiteY1" fmla="*/ 862451 h 862451"/>
              <a:gd name="connsiteX2" fmla="*/ 0 w 4097455"/>
              <a:gd name="connsiteY2" fmla="*/ 859958 h 862451"/>
              <a:gd name="connsiteX3" fmla="*/ 4097455 w 4097455"/>
              <a:gd name="connsiteY3" fmla="*/ 0 h 862451"/>
              <a:gd name="connsiteX0" fmla="*/ 4089728 w 4089728"/>
              <a:gd name="connsiteY0" fmla="*/ 0 h 892377"/>
              <a:gd name="connsiteX1" fmla="*/ 3411887 w 4089728"/>
              <a:gd name="connsiteY1" fmla="*/ 892377 h 892377"/>
              <a:gd name="connsiteX2" fmla="*/ 0 w 4089728"/>
              <a:gd name="connsiteY2" fmla="*/ 889884 h 892377"/>
              <a:gd name="connsiteX3" fmla="*/ 4089728 w 4089728"/>
              <a:gd name="connsiteY3" fmla="*/ 0 h 892377"/>
              <a:gd name="connsiteX0" fmla="*/ 4089728 w 4089728"/>
              <a:gd name="connsiteY0" fmla="*/ 0 h 892377"/>
              <a:gd name="connsiteX1" fmla="*/ 3424766 w 4089728"/>
              <a:gd name="connsiteY1" fmla="*/ 892377 h 892377"/>
              <a:gd name="connsiteX2" fmla="*/ 0 w 4089728"/>
              <a:gd name="connsiteY2" fmla="*/ 889884 h 892377"/>
              <a:gd name="connsiteX3" fmla="*/ 4089728 w 4089728"/>
              <a:gd name="connsiteY3" fmla="*/ 0 h 892377"/>
              <a:gd name="connsiteX0" fmla="*/ 4089728 w 4089728"/>
              <a:gd name="connsiteY0" fmla="*/ 0 h 889884"/>
              <a:gd name="connsiteX1" fmla="*/ 3360372 w 4089728"/>
              <a:gd name="connsiteY1" fmla="*/ 889884 h 889884"/>
              <a:gd name="connsiteX2" fmla="*/ 0 w 4089728"/>
              <a:gd name="connsiteY2" fmla="*/ 889884 h 889884"/>
              <a:gd name="connsiteX3" fmla="*/ 4089728 w 4089728"/>
              <a:gd name="connsiteY3" fmla="*/ 0 h 889884"/>
              <a:gd name="connsiteX0" fmla="*/ 4079425 w 4079425"/>
              <a:gd name="connsiteY0" fmla="*/ 0 h 889884"/>
              <a:gd name="connsiteX1" fmla="*/ 3350069 w 4079425"/>
              <a:gd name="connsiteY1" fmla="*/ 889884 h 889884"/>
              <a:gd name="connsiteX2" fmla="*/ 0 w 4079425"/>
              <a:gd name="connsiteY2" fmla="*/ 882403 h 889884"/>
              <a:gd name="connsiteX3" fmla="*/ 4079425 w 4079425"/>
              <a:gd name="connsiteY3" fmla="*/ 0 h 889884"/>
              <a:gd name="connsiteX0" fmla="*/ 4082000 w 4082000"/>
              <a:gd name="connsiteY0" fmla="*/ 0 h 889884"/>
              <a:gd name="connsiteX1" fmla="*/ 3352644 w 4082000"/>
              <a:gd name="connsiteY1" fmla="*/ 889884 h 889884"/>
              <a:gd name="connsiteX2" fmla="*/ 0 w 4082000"/>
              <a:gd name="connsiteY2" fmla="*/ 882403 h 889884"/>
              <a:gd name="connsiteX3" fmla="*/ 4082000 w 4082000"/>
              <a:gd name="connsiteY3" fmla="*/ 0 h 889884"/>
              <a:gd name="connsiteX0" fmla="*/ 4087152 w 4087152"/>
              <a:gd name="connsiteY0" fmla="*/ 0 h 1007091"/>
              <a:gd name="connsiteX1" fmla="*/ 3357796 w 4087152"/>
              <a:gd name="connsiteY1" fmla="*/ 889884 h 1007091"/>
              <a:gd name="connsiteX2" fmla="*/ 0 w 4087152"/>
              <a:gd name="connsiteY2" fmla="*/ 1007091 h 1007091"/>
              <a:gd name="connsiteX3" fmla="*/ 4087152 w 4087152"/>
              <a:gd name="connsiteY3" fmla="*/ 0 h 1007091"/>
              <a:gd name="connsiteX0" fmla="*/ 4092304 w 4092304"/>
              <a:gd name="connsiteY0" fmla="*/ 0 h 894872"/>
              <a:gd name="connsiteX1" fmla="*/ 3362948 w 4092304"/>
              <a:gd name="connsiteY1" fmla="*/ 889884 h 894872"/>
              <a:gd name="connsiteX2" fmla="*/ 0 w 4092304"/>
              <a:gd name="connsiteY2" fmla="*/ 894872 h 894872"/>
              <a:gd name="connsiteX3" fmla="*/ 4092304 w 4092304"/>
              <a:gd name="connsiteY3" fmla="*/ 0 h 894872"/>
            </a:gdLst>
            <a:ahLst/>
            <a:cxnLst>
              <a:cxn ang="0">
                <a:pos x="connsiteX0" y="connsiteY0"/>
              </a:cxn>
              <a:cxn ang="0">
                <a:pos x="connsiteX1" y="connsiteY1"/>
              </a:cxn>
              <a:cxn ang="0">
                <a:pos x="connsiteX2" y="connsiteY2"/>
              </a:cxn>
              <a:cxn ang="0">
                <a:pos x="connsiteX3" y="connsiteY3"/>
              </a:cxn>
            </a:cxnLst>
            <a:rect l="l" t="t" r="r" b="b"/>
            <a:pathLst>
              <a:path w="4092304" h="894872">
                <a:moveTo>
                  <a:pt x="4092304" y="0"/>
                </a:moveTo>
                <a:lnTo>
                  <a:pt x="3362948" y="889884"/>
                </a:lnTo>
                <a:lnTo>
                  <a:pt x="0" y="894872"/>
                </a:lnTo>
                <a:lnTo>
                  <a:pt x="4092304" y="0"/>
                </a:lnTo>
                <a:close/>
              </a:path>
            </a:pathLst>
          </a:custGeom>
          <a:gradFill>
            <a:gsLst>
              <a:gs pos="21000">
                <a:schemeClr val="accent1"/>
              </a:gs>
              <a:gs pos="10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a:off x="3317876" y="5936217"/>
            <a:ext cx="5416584" cy="930949"/>
          </a:xfrm>
          <a:custGeom>
            <a:avLst/>
            <a:gdLst>
              <a:gd name="connsiteX0" fmla="*/ 683287 w 5365819"/>
              <a:gd name="connsiteY0" fmla="*/ 0 h 914400"/>
              <a:gd name="connsiteX1" fmla="*/ 5365819 w 5365819"/>
              <a:gd name="connsiteY1" fmla="*/ 904351 h 914400"/>
              <a:gd name="connsiteX2" fmla="*/ 0 w 5365819"/>
              <a:gd name="connsiteY2" fmla="*/ 914400 h 914400"/>
              <a:gd name="connsiteX3" fmla="*/ 683287 w 5365819"/>
              <a:gd name="connsiteY3" fmla="*/ 0 h 914400"/>
              <a:gd name="connsiteX0" fmla="*/ 711531 w 5394063"/>
              <a:gd name="connsiteY0" fmla="*/ 0 h 917930"/>
              <a:gd name="connsiteX1" fmla="*/ 5394063 w 5394063"/>
              <a:gd name="connsiteY1" fmla="*/ 904351 h 917930"/>
              <a:gd name="connsiteX2" fmla="*/ 0 w 5394063"/>
              <a:gd name="connsiteY2" fmla="*/ 917930 h 917930"/>
              <a:gd name="connsiteX3" fmla="*/ 711531 w 5394063"/>
              <a:gd name="connsiteY3" fmla="*/ 0 h 917930"/>
              <a:gd name="connsiteX0" fmla="*/ 725653 w 5394063"/>
              <a:gd name="connsiteY0" fmla="*/ 0 h 910869"/>
              <a:gd name="connsiteX1" fmla="*/ 5394063 w 5394063"/>
              <a:gd name="connsiteY1" fmla="*/ 897290 h 910869"/>
              <a:gd name="connsiteX2" fmla="*/ 0 w 5394063"/>
              <a:gd name="connsiteY2" fmla="*/ 910869 h 910869"/>
              <a:gd name="connsiteX3" fmla="*/ 725653 w 5394063"/>
              <a:gd name="connsiteY3" fmla="*/ 0 h 910869"/>
              <a:gd name="connsiteX0" fmla="*/ 725653 w 5376410"/>
              <a:gd name="connsiteY0" fmla="*/ 0 h 910869"/>
              <a:gd name="connsiteX1" fmla="*/ 5376410 w 5376410"/>
              <a:gd name="connsiteY1" fmla="*/ 907881 h 910869"/>
              <a:gd name="connsiteX2" fmla="*/ 0 w 5376410"/>
              <a:gd name="connsiteY2" fmla="*/ 910869 h 910869"/>
              <a:gd name="connsiteX3" fmla="*/ 725653 w 5376410"/>
              <a:gd name="connsiteY3" fmla="*/ 0 h 910869"/>
              <a:gd name="connsiteX0" fmla="*/ 783842 w 5376410"/>
              <a:gd name="connsiteY0" fmla="*/ 0 h 765396"/>
              <a:gd name="connsiteX1" fmla="*/ 5376410 w 5376410"/>
              <a:gd name="connsiteY1" fmla="*/ 762408 h 765396"/>
              <a:gd name="connsiteX2" fmla="*/ 0 w 5376410"/>
              <a:gd name="connsiteY2" fmla="*/ 765396 h 765396"/>
              <a:gd name="connsiteX3" fmla="*/ 783842 w 5376410"/>
              <a:gd name="connsiteY3" fmla="*/ 0 h 765396"/>
              <a:gd name="connsiteX0" fmla="*/ 729810 w 5376410"/>
              <a:gd name="connsiteY0" fmla="*/ 0 h 910869"/>
              <a:gd name="connsiteX1" fmla="*/ 5376410 w 5376410"/>
              <a:gd name="connsiteY1" fmla="*/ 907881 h 910869"/>
              <a:gd name="connsiteX2" fmla="*/ 0 w 5376410"/>
              <a:gd name="connsiteY2" fmla="*/ 910869 h 910869"/>
              <a:gd name="connsiteX3" fmla="*/ 729810 w 5376410"/>
              <a:gd name="connsiteY3" fmla="*/ 0 h 910869"/>
              <a:gd name="connsiteX0" fmla="*/ 714570 w 5376410"/>
              <a:gd name="connsiteY0" fmla="*/ 0 h 918489"/>
              <a:gd name="connsiteX1" fmla="*/ 5376410 w 5376410"/>
              <a:gd name="connsiteY1" fmla="*/ 915501 h 918489"/>
              <a:gd name="connsiteX2" fmla="*/ 0 w 5376410"/>
              <a:gd name="connsiteY2" fmla="*/ 918489 h 918489"/>
              <a:gd name="connsiteX3" fmla="*/ 714570 w 5376410"/>
              <a:gd name="connsiteY3" fmla="*/ 0 h 918489"/>
              <a:gd name="connsiteX0" fmla="*/ 809820 w 5376410"/>
              <a:gd name="connsiteY0" fmla="*/ 0 h 758469"/>
              <a:gd name="connsiteX1" fmla="*/ 5376410 w 5376410"/>
              <a:gd name="connsiteY1" fmla="*/ 755481 h 758469"/>
              <a:gd name="connsiteX2" fmla="*/ 0 w 5376410"/>
              <a:gd name="connsiteY2" fmla="*/ 758469 h 758469"/>
              <a:gd name="connsiteX3" fmla="*/ 809820 w 5376410"/>
              <a:gd name="connsiteY3" fmla="*/ 0 h 758469"/>
              <a:gd name="connsiteX0" fmla="*/ 710760 w 5376410"/>
              <a:gd name="connsiteY0" fmla="*/ 0 h 918489"/>
              <a:gd name="connsiteX1" fmla="*/ 5376410 w 5376410"/>
              <a:gd name="connsiteY1" fmla="*/ 915501 h 918489"/>
              <a:gd name="connsiteX2" fmla="*/ 0 w 5376410"/>
              <a:gd name="connsiteY2" fmla="*/ 918489 h 918489"/>
              <a:gd name="connsiteX3" fmla="*/ 710760 w 5376410"/>
              <a:gd name="connsiteY3" fmla="*/ 0 h 918489"/>
              <a:gd name="connsiteX0" fmla="*/ 722190 w 5376410"/>
              <a:gd name="connsiteY0" fmla="*/ 0 h 914679"/>
              <a:gd name="connsiteX1" fmla="*/ 5376410 w 5376410"/>
              <a:gd name="connsiteY1" fmla="*/ 911691 h 914679"/>
              <a:gd name="connsiteX2" fmla="*/ 0 w 5376410"/>
              <a:gd name="connsiteY2" fmla="*/ 914679 h 914679"/>
              <a:gd name="connsiteX3" fmla="*/ 722190 w 5376410"/>
              <a:gd name="connsiteY3" fmla="*/ 0 h 914679"/>
              <a:gd name="connsiteX0" fmla="*/ 735069 w 5389289"/>
              <a:gd name="connsiteY0" fmla="*/ 0 h 912104"/>
              <a:gd name="connsiteX1" fmla="*/ 5389289 w 5389289"/>
              <a:gd name="connsiteY1" fmla="*/ 911691 h 912104"/>
              <a:gd name="connsiteX2" fmla="*/ 0 w 5389289"/>
              <a:gd name="connsiteY2" fmla="*/ 912104 h 912104"/>
              <a:gd name="connsiteX3" fmla="*/ 735069 w 5389289"/>
              <a:gd name="connsiteY3" fmla="*/ 0 h 912104"/>
              <a:gd name="connsiteX0" fmla="*/ 735069 w 5389289"/>
              <a:gd name="connsiteY0" fmla="*/ 0 h 925339"/>
              <a:gd name="connsiteX1" fmla="*/ 5389289 w 5389289"/>
              <a:gd name="connsiteY1" fmla="*/ 925339 h 925339"/>
              <a:gd name="connsiteX2" fmla="*/ 0 w 5389289"/>
              <a:gd name="connsiteY2" fmla="*/ 912104 h 925339"/>
              <a:gd name="connsiteX3" fmla="*/ 735069 w 5389289"/>
              <a:gd name="connsiteY3" fmla="*/ 0 h 925339"/>
              <a:gd name="connsiteX0" fmla="*/ 762364 w 5416584"/>
              <a:gd name="connsiteY0" fmla="*/ 0 h 939400"/>
              <a:gd name="connsiteX1" fmla="*/ 5416584 w 5416584"/>
              <a:gd name="connsiteY1" fmla="*/ 925339 h 939400"/>
              <a:gd name="connsiteX2" fmla="*/ 0 w 5416584"/>
              <a:gd name="connsiteY2" fmla="*/ 939400 h 939400"/>
              <a:gd name="connsiteX3" fmla="*/ 762364 w 5416584"/>
              <a:gd name="connsiteY3" fmla="*/ 0 h 939400"/>
              <a:gd name="connsiteX0" fmla="*/ 762364 w 5416584"/>
              <a:gd name="connsiteY0" fmla="*/ 0 h 945010"/>
              <a:gd name="connsiteX1" fmla="*/ 5416584 w 5416584"/>
              <a:gd name="connsiteY1" fmla="*/ 930949 h 945010"/>
              <a:gd name="connsiteX2" fmla="*/ 0 w 5416584"/>
              <a:gd name="connsiteY2" fmla="*/ 945010 h 945010"/>
              <a:gd name="connsiteX3" fmla="*/ 762364 w 5416584"/>
              <a:gd name="connsiteY3" fmla="*/ 0 h 945010"/>
              <a:gd name="connsiteX0" fmla="*/ 762364 w 5416584"/>
              <a:gd name="connsiteY0" fmla="*/ 0 h 930949"/>
              <a:gd name="connsiteX1" fmla="*/ 5416584 w 5416584"/>
              <a:gd name="connsiteY1" fmla="*/ 930949 h 930949"/>
              <a:gd name="connsiteX2" fmla="*/ 0 w 5416584"/>
              <a:gd name="connsiteY2" fmla="*/ 921156 h 930949"/>
              <a:gd name="connsiteX3" fmla="*/ 762364 w 5416584"/>
              <a:gd name="connsiteY3" fmla="*/ 0 h 930949"/>
            </a:gdLst>
            <a:ahLst/>
            <a:cxnLst>
              <a:cxn ang="0">
                <a:pos x="connsiteX0" y="connsiteY0"/>
              </a:cxn>
              <a:cxn ang="0">
                <a:pos x="connsiteX1" y="connsiteY1"/>
              </a:cxn>
              <a:cxn ang="0">
                <a:pos x="connsiteX2" y="connsiteY2"/>
              </a:cxn>
              <a:cxn ang="0">
                <a:pos x="connsiteX3" y="connsiteY3"/>
              </a:cxn>
            </a:cxnLst>
            <a:rect l="l" t="t" r="r" b="b"/>
            <a:pathLst>
              <a:path w="5416584" h="930949">
                <a:moveTo>
                  <a:pt x="762364" y="0"/>
                </a:moveTo>
                <a:lnTo>
                  <a:pt x="5416584" y="930949"/>
                </a:lnTo>
                <a:lnTo>
                  <a:pt x="0" y="921156"/>
                </a:lnTo>
                <a:lnTo>
                  <a:pt x="762364" y="0"/>
                </a:lnTo>
                <a:close/>
              </a:path>
            </a:pathLst>
          </a:custGeom>
          <a:gradFill>
            <a:gsLst>
              <a:gs pos="4000">
                <a:schemeClr val="accent1"/>
              </a:gs>
              <a:gs pos="100000">
                <a:schemeClr val="accent2"/>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6" name="Freeform 25"/>
          <p:cNvSpPr/>
          <p:nvPr/>
        </p:nvSpPr>
        <p:spPr>
          <a:xfrm>
            <a:off x="10990536" y="3785435"/>
            <a:ext cx="1203845" cy="3091509"/>
          </a:xfrm>
          <a:custGeom>
            <a:avLst/>
            <a:gdLst>
              <a:gd name="connsiteX0" fmla="*/ 0 w 1182718"/>
              <a:gd name="connsiteY0" fmla="*/ 0 h 3032701"/>
              <a:gd name="connsiteX1" fmla="*/ 497800 w 1182718"/>
              <a:gd name="connsiteY1" fmla="*/ 3032701 h 3032701"/>
              <a:gd name="connsiteX2" fmla="*/ 1182718 w 1182718"/>
              <a:gd name="connsiteY2" fmla="*/ 515453 h 3032701"/>
              <a:gd name="connsiteX3" fmla="*/ 0 w 1182718"/>
              <a:gd name="connsiteY3" fmla="*/ 0 h 3032701"/>
              <a:gd name="connsiteX0" fmla="*/ 0 w 1179187"/>
              <a:gd name="connsiteY0" fmla="*/ 0 h 3029170"/>
              <a:gd name="connsiteX1" fmla="*/ 494269 w 1179187"/>
              <a:gd name="connsiteY1" fmla="*/ 3029170 h 3029170"/>
              <a:gd name="connsiteX2" fmla="*/ 1179187 w 1179187"/>
              <a:gd name="connsiteY2" fmla="*/ 511922 h 3029170"/>
              <a:gd name="connsiteX3" fmla="*/ 0 w 1179187"/>
              <a:gd name="connsiteY3" fmla="*/ 0 h 3029170"/>
              <a:gd name="connsiteX0" fmla="*/ 0 w 1179187"/>
              <a:gd name="connsiteY0" fmla="*/ 0 h 3039761"/>
              <a:gd name="connsiteX1" fmla="*/ 483677 w 1179187"/>
              <a:gd name="connsiteY1" fmla="*/ 3039761 h 3039761"/>
              <a:gd name="connsiteX2" fmla="*/ 1179187 w 1179187"/>
              <a:gd name="connsiteY2" fmla="*/ 511922 h 3039761"/>
              <a:gd name="connsiteX3" fmla="*/ 0 w 1179187"/>
              <a:gd name="connsiteY3" fmla="*/ 0 h 3039761"/>
              <a:gd name="connsiteX0" fmla="*/ 0 w 1190407"/>
              <a:gd name="connsiteY0" fmla="*/ 0 h 3039761"/>
              <a:gd name="connsiteX1" fmla="*/ 494897 w 1190407"/>
              <a:gd name="connsiteY1" fmla="*/ 3039761 h 3039761"/>
              <a:gd name="connsiteX2" fmla="*/ 1190407 w 1190407"/>
              <a:gd name="connsiteY2" fmla="*/ 511922 h 3039761"/>
              <a:gd name="connsiteX3" fmla="*/ 0 w 1190407"/>
              <a:gd name="connsiteY3" fmla="*/ 0 h 3039761"/>
              <a:gd name="connsiteX0" fmla="*/ 0 w 1203107"/>
              <a:gd name="connsiteY0" fmla="*/ 0 h 3065161"/>
              <a:gd name="connsiteX1" fmla="*/ 507597 w 1203107"/>
              <a:gd name="connsiteY1" fmla="*/ 3065161 h 3065161"/>
              <a:gd name="connsiteX2" fmla="*/ 1203107 w 1203107"/>
              <a:gd name="connsiteY2" fmla="*/ 537322 h 3065161"/>
              <a:gd name="connsiteX3" fmla="*/ 0 w 1203107"/>
              <a:gd name="connsiteY3" fmla="*/ 0 h 3065161"/>
              <a:gd name="connsiteX0" fmla="*/ 0 w 1209457"/>
              <a:gd name="connsiteY0" fmla="*/ 0 h 3065161"/>
              <a:gd name="connsiteX1" fmla="*/ 507597 w 1209457"/>
              <a:gd name="connsiteY1" fmla="*/ 3065161 h 3065161"/>
              <a:gd name="connsiteX2" fmla="*/ 1209457 w 1209457"/>
              <a:gd name="connsiteY2" fmla="*/ 543672 h 3065161"/>
              <a:gd name="connsiteX3" fmla="*/ 0 w 1209457"/>
              <a:gd name="connsiteY3" fmla="*/ 0 h 3065161"/>
              <a:gd name="connsiteX0" fmla="*/ 0 w 1215807"/>
              <a:gd name="connsiteY0" fmla="*/ 0 h 3065161"/>
              <a:gd name="connsiteX1" fmla="*/ 507597 w 1215807"/>
              <a:gd name="connsiteY1" fmla="*/ 3065161 h 3065161"/>
              <a:gd name="connsiteX2" fmla="*/ 1215807 w 1215807"/>
              <a:gd name="connsiteY2" fmla="*/ 537322 h 3065161"/>
              <a:gd name="connsiteX3" fmla="*/ 0 w 1215807"/>
              <a:gd name="connsiteY3" fmla="*/ 0 h 3065161"/>
              <a:gd name="connsiteX0" fmla="*/ 0 w 1209457"/>
              <a:gd name="connsiteY0" fmla="*/ 0 h 3077861"/>
              <a:gd name="connsiteX1" fmla="*/ 501247 w 1209457"/>
              <a:gd name="connsiteY1" fmla="*/ 3077861 h 3077861"/>
              <a:gd name="connsiteX2" fmla="*/ 1209457 w 1209457"/>
              <a:gd name="connsiteY2" fmla="*/ 550022 h 3077861"/>
              <a:gd name="connsiteX3" fmla="*/ 0 w 1209457"/>
              <a:gd name="connsiteY3" fmla="*/ 0 h 3077861"/>
              <a:gd name="connsiteX0" fmla="*/ 0 w 1209457"/>
              <a:gd name="connsiteY0" fmla="*/ 0 h 3091509"/>
              <a:gd name="connsiteX1" fmla="*/ 501247 w 1209457"/>
              <a:gd name="connsiteY1" fmla="*/ 3091509 h 3091509"/>
              <a:gd name="connsiteX2" fmla="*/ 1209457 w 1209457"/>
              <a:gd name="connsiteY2" fmla="*/ 550022 h 3091509"/>
              <a:gd name="connsiteX3" fmla="*/ 0 w 1209457"/>
              <a:gd name="connsiteY3" fmla="*/ 0 h 3091509"/>
            </a:gdLst>
            <a:ahLst/>
            <a:cxnLst>
              <a:cxn ang="0">
                <a:pos x="connsiteX0" y="connsiteY0"/>
              </a:cxn>
              <a:cxn ang="0">
                <a:pos x="connsiteX1" y="connsiteY1"/>
              </a:cxn>
              <a:cxn ang="0">
                <a:pos x="connsiteX2" y="connsiteY2"/>
              </a:cxn>
              <a:cxn ang="0">
                <a:pos x="connsiteX3" y="connsiteY3"/>
              </a:cxn>
            </a:cxnLst>
            <a:rect l="l" t="t" r="r" b="b"/>
            <a:pathLst>
              <a:path w="1209457" h="3091509">
                <a:moveTo>
                  <a:pt x="0" y="0"/>
                </a:moveTo>
                <a:lnTo>
                  <a:pt x="501247" y="3091509"/>
                </a:lnTo>
                <a:lnTo>
                  <a:pt x="1209457" y="550022"/>
                </a:lnTo>
                <a:lnTo>
                  <a:pt x="0" y="0"/>
                </a:lnTo>
                <a:close/>
              </a:path>
            </a:pathLst>
          </a:custGeom>
          <a:gradFill>
            <a:gsLst>
              <a:gs pos="34000">
                <a:schemeClr val="accent2"/>
              </a:gs>
              <a:gs pos="100000">
                <a:schemeClr val="accent1"/>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7" name="Freeform 26"/>
          <p:cNvSpPr/>
          <p:nvPr/>
        </p:nvSpPr>
        <p:spPr>
          <a:xfrm>
            <a:off x="11488254" y="4321334"/>
            <a:ext cx="708319" cy="2552078"/>
          </a:xfrm>
          <a:custGeom>
            <a:avLst/>
            <a:gdLst>
              <a:gd name="connsiteX0" fmla="*/ 691978 w 697728"/>
              <a:gd name="connsiteY0" fmla="*/ 0 h 2520778"/>
              <a:gd name="connsiteX1" fmla="*/ 0 w 697728"/>
              <a:gd name="connsiteY1" fmla="*/ 2520778 h 2520778"/>
              <a:gd name="connsiteX2" fmla="*/ 695509 w 697728"/>
              <a:gd name="connsiteY2" fmla="*/ 2517248 h 2520778"/>
              <a:gd name="connsiteX3" fmla="*/ 691978 w 697728"/>
              <a:gd name="connsiteY3" fmla="*/ 0 h 2520778"/>
              <a:gd name="connsiteX0" fmla="*/ 691978 w 697728"/>
              <a:gd name="connsiteY0" fmla="*/ 0 h 2531370"/>
              <a:gd name="connsiteX1" fmla="*/ 0 w 697728"/>
              <a:gd name="connsiteY1" fmla="*/ 2531370 h 2531370"/>
              <a:gd name="connsiteX2" fmla="*/ 695509 w 697728"/>
              <a:gd name="connsiteY2" fmla="*/ 2517248 h 2531370"/>
              <a:gd name="connsiteX3" fmla="*/ 691978 w 697728"/>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9039 w 704789"/>
              <a:gd name="connsiteY0" fmla="*/ 0 h 2541962"/>
              <a:gd name="connsiteX1" fmla="*/ 0 w 704789"/>
              <a:gd name="connsiteY1" fmla="*/ 2541962 h 2541962"/>
              <a:gd name="connsiteX2" fmla="*/ 702570 w 704789"/>
              <a:gd name="connsiteY2" fmla="*/ 2538431 h 2541962"/>
              <a:gd name="connsiteX3" fmla="*/ 699039 w 704789"/>
              <a:gd name="connsiteY3" fmla="*/ 0 h 2541962"/>
              <a:gd name="connsiteX0" fmla="*/ 702569 w 708319"/>
              <a:gd name="connsiteY0" fmla="*/ 0 h 2538431"/>
              <a:gd name="connsiteX1" fmla="*/ 0 w 708319"/>
              <a:gd name="connsiteY1" fmla="*/ 2538431 h 2538431"/>
              <a:gd name="connsiteX2" fmla="*/ 706100 w 708319"/>
              <a:gd name="connsiteY2" fmla="*/ 2538431 h 2538431"/>
              <a:gd name="connsiteX3" fmla="*/ 702569 w 708319"/>
              <a:gd name="connsiteY3" fmla="*/ 0 h 2538431"/>
              <a:gd name="connsiteX0" fmla="*/ 667264 w 673014"/>
              <a:gd name="connsiteY0" fmla="*/ 0 h 2538431"/>
              <a:gd name="connsiteX1" fmla="*/ 0 w 673014"/>
              <a:gd name="connsiteY1" fmla="*/ 2252460 h 2538431"/>
              <a:gd name="connsiteX2" fmla="*/ 670795 w 673014"/>
              <a:gd name="connsiteY2" fmla="*/ 2538431 h 2538431"/>
              <a:gd name="connsiteX3" fmla="*/ 667264 w 673014"/>
              <a:gd name="connsiteY3" fmla="*/ 0 h 2538431"/>
              <a:gd name="connsiteX0" fmla="*/ 702569 w 708319"/>
              <a:gd name="connsiteY0" fmla="*/ 0 h 2541961"/>
              <a:gd name="connsiteX1" fmla="*/ 0 w 708319"/>
              <a:gd name="connsiteY1" fmla="*/ 2541961 h 2541961"/>
              <a:gd name="connsiteX2" fmla="*/ 706100 w 708319"/>
              <a:gd name="connsiteY2" fmla="*/ 2538431 h 2541961"/>
              <a:gd name="connsiteX3" fmla="*/ 702569 w 708319"/>
              <a:gd name="connsiteY3" fmla="*/ 0 h 2541961"/>
              <a:gd name="connsiteX0" fmla="*/ 702569 w 708319"/>
              <a:gd name="connsiteY0" fmla="*/ 0 h 2538431"/>
              <a:gd name="connsiteX1" fmla="*/ 0 w 708319"/>
              <a:gd name="connsiteY1" fmla="*/ 2534900 h 2538431"/>
              <a:gd name="connsiteX2" fmla="*/ 706100 w 708319"/>
              <a:gd name="connsiteY2" fmla="*/ 2538431 h 2538431"/>
              <a:gd name="connsiteX3" fmla="*/ 702569 w 708319"/>
              <a:gd name="connsiteY3" fmla="*/ 0 h 2538431"/>
              <a:gd name="connsiteX0" fmla="*/ 702569 w 708319"/>
              <a:gd name="connsiteY0" fmla="*/ 0 h 2548548"/>
              <a:gd name="connsiteX1" fmla="*/ 0 w 708319"/>
              <a:gd name="connsiteY1" fmla="*/ 2548548 h 2548548"/>
              <a:gd name="connsiteX2" fmla="*/ 706100 w 708319"/>
              <a:gd name="connsiteY2" fmla="*/ 2538431 h 2548548"/>
              <a:gd name="connsiteX3" fmla="*/ 702569 w 708319"/>
              <a:gd name="connsiteY3" fmla="*/ 0 h 2548548"/>
              <a:gd name="connsiteX0" fmla="*/ 702569 w 704906"/>
              <a:gd name="connsiteY0" fmla="*/ 0 h 2548548"/>
              <a:gd name="connsiteX1" fmla="*/ 0 w 704906"/>
              <a:gd name="connsiteY1" fmla="*/ 2548548 h 2548548"/>
              <a:gd name="connsiteX2" fmla="*/ 692452 w 704906"/>
              <a:gd name="connsiteY2" fmla="*/ 2538431 h 2548548"/>
              <a:gd name="connsiteX3" fmla="*/ 702569 w 704906"/>
              <a:gd name="connsiteY3" fmla="*/ 0 h 2548548"/>
              <a:gd name="connsiteX0" fmla="*/ 702569 w 708319"/>
              <a:gd name="connsiteY0" fmla="*/ 0 h 2565726"/>
              <a:gd name="connsiteX1" fmla="*/ 0 w 708319"/>
              <a:gd name="connsiteY1" fmla="*/ 2548548 h 2565726"/>
              <a:gd name="connsiteX2" fmla="*/ 706100 w 708319"/>
              <a:gd name="connsiteY2" fmla="*/ 2565726 h 2565726"/>
              <a:gd name="connsiteX3" fmla="*/ 702569 w 708319"/>
              <a:gd name="connsiteY3" fmla="*/ 0 h 2565726"/>
              <a:gd name="connsiteX0" fmla="*/ 702569 w 708319"/>
              <a:gd name="connsiteY0" fmla="*/ 0 h 2552078"/>
              <a:gd name="connsiteX1" fmla="*/ 0 w 708319"/>
              <a:gd name="connsiteY1" fmla="*/ 2548548 h 2552078"/>
              <a:gd name="connsiteX2" fmla="*/ 706100 w 708319"/>
              <a:gd name="connsiteY2" fmla="*/ 2552078 h 2552078"/>
              <a:gd name="connsiteX3" fmla="*/ 702569 w 708319"/>
              <a:gd name="connsiteY3" fmla="*/ 0 h 2552078"/>
            </a:gdLst>
            <a:ahLst/>
            <a:cxnLst>
              <a:cxn ang="0">
                <a:pos x="connsiteX0" y="connsiteY0"/>
              </a:cxn>
              <a:cxn ang="0">
                <a:pos x="connsiteX1" y="connsiteY1"/>
              </a:cxn>
              <a:cxn ang="0">
                <a:pos x="connsiteX2" y="connsiteY2"/>
              </a:cxn>
              <a:cxn ang="0">
                <a:pos x="connsiteX3" y="connsiteY3"/>
              </a:cxn>
            </a:cxnLst>
            <a:rect l="l" t="t" r="r" b="b"/>
            <a:pathLst>
              <a:path w="708319" h="2552078">
                <a:moveTo>
                  <a:pt x="702569" y="0"/>
                </a:moveTo>
                <a:lnTo>
                  <a:pt x="0" y="2548548"/>
                </a:lnTo>
                <a:lnTo>
                  <a:pt x="706100" y="2552078"/>
                </a:lnTo>
                <a:cubicBezTo>
                  <a:pt x="708454" y="1710642"/>
                  <a:pt x="710807" y="834375"/>
                  <a:pt x="702569" y="0"/>
                </a:cubicBezTo>
                <a:close/>
              </a:path>
            </a:pathLst>
          </a:custGeom>
          <a:gradFill>
            <a:gsLst>
              <a:gs pos="21000">
                <a:schemeClr val="accent2"/>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0" name="Freeform 29"/>
          <p:cNvSpPr/>
          <p:nvPr/>
        </p:nvSpPr>
        <p:spPr>
          <a:xfrm>
            <a:off x="-2381" y="-1"/>
            <a:ext cx="3112998" cy="178606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 name="connsiteX0" fmla="*/ 0 w 3081965"/>
              <a:gd name="connsiteY0" fmla="*/ 0 h 1775900"/>
              <a:gd name="connsiteX1" fmla="*/ 1036790 w 3081965"/>
              <a:gd name="connsiteY1" fmla="*/ 1773715 h 1775900"/>
              <a:gd name="connsiteX2" fmla="*/ 3081965 w 3081965"/>
              <a:gd name="connsiteY2" fmla="*/ 1775900 h 1775900"/>
              <a:gd name="connsiteX3" fmla="*/ 0 w 3081965"/>
              <a:gd name="connsiteY3" fmla="*/ 0 h 1775900"/>
              <a:gd name="connsiteX0" fmla="*/ 0 w 3086728"/>
              <a:gd name="connsiteY0" fmla="*/ 0 h 1775900"/>
              <a:gd name="connsiteX1" fmla="*/ 1036790 w 3086728"/>
              <a:gd name="connsiteY1" fmla="*/ 1773715 h 1775900"/>
              <a:gd name="connsiteX2" fmla="*/ 3086728 w 3086728"/>
              <a:gd name="connsiteY2" fmla="*/ 1775900 h 1775900"/>
              <a:gd name="connsiteX3" fmla="*/ 0 w 3086728"/>
              <a:gd name="connsiteY3" fmla="*/ 0 h 1775900"/>
              <a:gd name="connsiteX0" fmla="*/ 0 w 3091491"/>
              <a:gd name="connsiteY0" fmla="*/ 0 h 1799713"/>
              <a:gd name="connsiteX1" fmla="*/ 1036790 w 3091491"/>
              <a:gd name="connsiteY1" fmla="*/ 1773715 h 1799713"/>
              <a:gd name="connsiteX2" fmla="*/ 3091491 w 3091491"/>
              <a:gd name="connsiteY2" fmla="*/ 1799713 h 1799713"/>
              <a:gd name="connsiteX3" fmla="*/ 0 w 3091491"/>
              <a:gd name="connsiteY3" fmla="*/ 0 h 1799713"/>
              <a:gd name="connsiteX0" fmla="*/ 0 w 3120066"/>
              <a:gd name="connsiteY0" fmla="*/ 0 h 1799713"/>
              <a:gd name="connsiteX1" fmla="*/ 1036790 w 3120066"/>
              <a:gd name="connsiteY1" fmla="*/ 1773715 h 1799713"/>
              <a:gd name="connsiteX2" fmla="*/ 3120066 w 3120066"/>
              <a:gd name="connsiteY2" fmla="*/ 1799713 h 1799713"/>
              <a:gd name="connsiteX3" fmla="*/ 0 w 3120066"/>
              <a:gd name="connsiteY3" fmla="*/ 0 h 1799713"/>
              <a:gd name="connsiteX0" fmla="*/ 0 w 3120066"/>
              <a:gd name="connsiteY0" fmla="*/ 0 h 1799713"/>
              <a:gd name="connsiteX1" fmla="*/ 1019730 w 3120066"/>
              <a:gd name="connsiteY1" fmla="*/ 1773715 h 1799713"/>
              <a:gd name="connsiteX2" fmla="*/ 3120066 w 3120066"/>
              <a:gd name="connsiteY2" fmla="*/ 1799713 h 1799713"/>
              <a:gd name="connsiteX3" fmla="*/ 0 w 3120066"/>
              <a:gd name="connsiteY3" fmla="*/ 0 h 1799713"/>
              <a:gd name="connsiteX0" fmla="*/ 0 w 3133714"/>
              <a:gd name="connsiteY0" fmla="*/ 0 h 1799713"/>
              <a:gd name="connsiteX1" fmla="*/ 1033378 w 3133714"/>
              <a:gd name="connsiteY1" fmla="*/ 1773715 h 1799713"/>
              <a:gd name="connsiteX2" fmla="*/ 3133714 w 3133714"/>
              <a:gd name="connsiteY2" fmla="*/ 1799713 h 1799713"/>
              <a:gd name="connsiteX3" fmla="*/ 0 w 3133714"/>
              <a:gd name="connsiteY3" fmla="*/ 0 h 1799713"/>
              <a:gd name="connsiteX0" fmla="*/ 0 w 3140538"/>
              <a:gd name="connsiteY0" fmla="*/ 0 h 1799713"/>
              <a:gd name="connsiteX1" fmla="*/ 1040202 w 3140538"/>
              <a:gd name="connsiteY1" fmla="*/ 1773715 h 1799713"/>
              <a:gd name="connsiteX2" fmla="*/ 3140538 w 3140538"/>
              <a:gd name="connsiteY2" fmla="*/ 1799713 h 1799713"/>
              <a:gd name="connsiteX3" fmla="*/ 0 w 3140538"/>
              <a:gd name="connsiteY3" fmla="*/ 0 h 1799713"/>
              <a:gd name="connsiteX0" fmla="*/ 0 w 3126890"/>
              <a:gd name="connsiteY0" fmla="*/ 0 h 1786065"/>
              <a:gd name="connsiteX1" fmla="*/ 1040202 w 3126890"/>
              <a:gd name="connsiteY1" fmla="*/ 1773715 h 1786065"/>
              <a:gd name="connsiteX2" fmla="*/ 3126890 w 3126890"/>
              <a:gd name="connsiteY2" fmla="*/ 1786065 h 1786065"/>
              <a:gd name="connsiteX3" fmla="*/ 0 w 3126890"/>
              <a:gd name="connsiteY3" fmla="*/ 0 h 1786065"/>
              <a:gd name="connsiteX0" fmla="*/ 0 w 3113242"/>
              <a:gd name="connsiteY0" fmla="*/ 0 h 1782653"/>
              <a:gd name="connsiteX1" fmla="*/ 1026554 w 3113242"/>
              <a:gd name="connsiteY1" fmla="*/ 1770303 h 1782653"/>
              <a:gd name="connsiteX2" fmla="*/ 3113242 w 3113242"/>
              <a:gd name="connsiteY2" fmla="*/ 1782653 h 1782653"/>
              <a:gd name="connsiteX3" fmla="*/ 0 w 3113242"/>
              <a:gd name="connsiteY3" fmla="*/ 0 h 1782653"/>
              <a:gd name="connsiteX0" fmla="*/ 0 w 3123478"/>
              <a:gd name="connsiteY0" fmla="*/ 0 h 1782653"/>
              <a:gd name="connsiteX1" fmla="*/ 1036790 w 3123478"/>
              <a:gd name="connsiteY1" fmla="*/ 1770303 h 1782653"/>
              <a:gd name="connsiteX2" fmla="*/ 3123478 w 3123478"/>
              <a:gd name="connsiteY2" fmla="*/ 1782653 h 1782653"/>
              <a:gd name="connsiteX3" fmla="*/ 0 w 3123478"/>
              <a:gd name="connsiteY3" fmla="*/ 0 h 1782653"/>
              <a:gd name="connsiteX0" fmla="*/ 0 w 3109830"/>
              <a:gd name="connsiteY0" fmla="*/ 0 h 1782653"/>
              <a:gd name="connsiteX1" fmla="*/ 1036790 w 3109830"/>
              <a:gd name="connsiteY1" fmla="*/ 1770303 h 1782653"/>
              <a:gd name="connsiteX2" fmla="*/ 3109830 w 3109830"/>
              <a:gd name="connsiteY2" fmla="*/ 1782653 h 1782653"/>
              <a:gd name="connsiteX3" fmla="*/ 0 w 3109830"/>
              <a:gd name="connsiteY3" fmla="*/ 0 h 1782653"/>
              <a:gd name="connsiteX0" fmla="*/ 0 w 3120462"/>
              <a:gd name="connsiteY0" fmla="*/ 0 h 1793286"/>
              <a:gd name="connsiteX1" fmla="*/ 1047422 w 3120462"/>
              <a:gd name="connsiteY1" fmla="*/ 1780936 h 1793286"/>
              <a:gd name="connsiteX2" fmla="*/ 3120462 w 3120462"/>
              <a:gd name="connsiteY2" fmla="*/ 1793286 h 1793286"/>
              <a:gd name="connsiteX3" fmla="*/ 0 w 3120462"/>
              <a:gd name="connsiteY3" fmla="*/ 0 h 1793286"/>
            </a:gdLst>
            <a:ahLst/>
            <a:cxnLst>
              <a:cxn ang="0">
                <a:pos x="connsiteX0" y="connsiteY0"/>
              </a:cxn>
              <a:cxn ang="0">
                <a:pos x="connsiteX1" y="connsiteY1"/>
              </a:cxn>
              <a:cxn ang="0">
                <a:pos x="connsiteX2" y="connsiteY2"/>
              </a:cxn>
              <a:cxn ang="0">
                <a:pos x="connsiteX3" y="connsiteY3"/>
              </a:cxn>
            </a:cxnLst>
            <a:rect l="l" t="t" r="r" b="b"/>
            <a:pathLst>
              <a:path w="3120462" h="1793286">
                <a:moveTo>
                  <a:pt x="0" y="0"/>
                </a:moveTo>
                <a:lnTo>
                  <a:pt x="1047422" y="1780936"/>
                </a:lnTo>
                <a:lnTo>
                  <a:pt x="3120462" y="1793286"/>
                </a:lnTo>
                <a:lnTo>
                  <a:pt x="0" y="0"/>
                </a:lnTo>
                <a:close/>
              </a:path>
            </a:pathLst>
          </a:custGeom>
          <a:gradFill>
            <a:gsLst>
              <a:gs pos="19000">
                <a:schemeClr val="accent2"/>
              </a:gs>
              <a:gs pos="9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1" name="Freeform 30"/>
          <p:cNvSpPr/>
          <p:nvPr/>
        </p:nvSpPr>
        <p:spPr>
          <a:xfrm>
            <a:off x="-3295" y="1769807"/>
            <a:ext cx="1407341" cy="5098422"/>
          </a:xfrm>
          <a:custGeom>
            <a:avLst/>
            <a:gdLst>
              <a:gd name="connsiteX0" fmla="*/ 1026488 w 1398147"/>
              <a:gd name="connsiteY0" fmla="*/ 0 h 5073445"/>
              <a:gd name="connsiteX1" fmla="*/ 1398147 w 1398147"/>
              <a:gd name="connsiteY1" fmla="*/ 1875995 h 5073445"/>
              <a:gd name="connsiteX2" fmla="*/ 0 w 1398147"/>
              <a:gd name="connsiteY2" fmla="*/ 5073445 h 5073445"/>
              <a:gd name="connsiteX3" fmla="*/ 1026488 w 1398147"/>
              <a:gd name="connsiteY3" fmla="*/ 0 h 5073445"/>
              <a:gd name="connsiteX0" fmla="*/ 1032388 w 1398147"/>
              <a:gd name="connsiteY0" fmla="*/ 0 h 5055747"/>
              <a:gd name="connsiteX1" fmla="*/ 1398147 w 1398147"/>
              <a:gd name="connsiteY1" fmla="*/ 1858297 h 5055747"/>
              <a:gd name="connsiteX2" fmla="*/ 0 w 1398147"/>
              <a:gd name="connsiteY2" fmla="*/ 5055747 h 5055747"/>
              <a:gd name="connsiteX3" fmla="*/ 1032388 w 1398147"/>
              <a:gd name="connsiteY3" fmla="*/ 0 h 5055747"/>
              <a:gd name="connsiteX0" fmla="*/ 1032388 w 1398147"/>
              <a:gd name="connsiteY0" fmla="*/ 0 h 5061646"/>
              <a:gd name="connsiteX1" fmla="*/ 1398147 w 1398147"/>
              <a:gd name="connsiteY1" fmla="*/ 1864196 h 5061646"/>
              <a:gd name="connsiteX2" fmla="*/ 0 w 1398147"/>
              <a:gd name="connsiteY2" fmla="*/ 5061646 h 5061646"/>
              <a:gd name="connsiteX3" fmla="*/ 1032388 w 1398147"/>
              <a:gd name="connsiteY3" fmla="*/ 0 h 5061646"/>
              <a:gd name="connsiteX0" fmla="*/ 1032388 w 1398147"/>
              <a:gd name="connsiteY0" fmla="*/ 0 h 5079344"/>
              <a:gd name="connsiteX1" fmla="*/ 1398147 w 1398147"/>
              <a:gd name="connsiteY1" fmla="*/ 1881894 h 5079344"/>
              <a:gd name="connsiteX2" fmla="*/ 0 w 1398147"/>
              <a:gd name="connsiteY2" fmla="*/ 5079344 h 5079344"/>
              <a:gd name="connsiteX3" fmla="*/ 1032388 w 1398147"/>
              <a:gd name="connsiteY3" fmla="*/ 0 h 5079344"/>
              <a:gd name="connsiteX0" fmla="*/ 1032388 w 1398147"/>
              <a:gd name="connsiteY0" fmla="*/ 0 h 5089936"/>
              <a:gd name="connsiteX1" fmla="*/ 1398147 w 1398147"/>
              <a:gd name="connsiteY1" fmla="*/ 1881894 h 5089936"/>
              <a:gd name="connsiteX2" fmla="*/ 0 w 1398147"/>
              <a:gd name="connsiteY2" fmla="*/ 5089936 h 5089936"/>
              <a:gd name="connsiteX3" fmla="*/ 1032388 w 1398147"/>
              <a:gd name="connsiteY3" fmla="*/ 0 h 5089936"/>
              <a:gd name="connsiteX0" fmla="*/ 1039450 w 1405209"/>
              <a:gd name="connsiteY0" fmla="*/ 0 h 5089936"/>
              <a:gd name="connsiteX1" fmla="*/ 1405209 w 1405209"/>
              <a:gd name="connsiteY1" fmla="*/ 1881894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8890 w 1405209"/>
              <a:gd name="connsiteY3" fmla="*/ 5081754 h 5089936"/>
              <a:gd name="connsiteX4" fmla="*/ 1039450 w 1405209"/>
              <a:gd name="connsiteY4" fmla="*/ 0 h 5089936"/>
              <a:gd name="connsiteX0" fmla="*/ 1041582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41582 w 1407341"/>
              <a:gd name="connsiteY4" fmla="*/ 0 h 5098422"/>
              <a:gd name="connsiteX0" fmla="*/ 1034758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34758 w 1407341"/>
              <a:gd name="connsiteY4" fmla="*/ 0 h 509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341" h="5098422">
                <a:moveTo>
                  <a:pt x="1034758" y="0"/>
                </a:moveTo>
                <a:lnTo>
                  <a:pt x="1407341" y="1891419"/>
                </a:lnTo>
                <a:lnTo>
                  <a:pt x="2132" y="5089936"/>
                </a:lnTo>
                <a:cubicBezTo>
                  <a:pt x="5095" y="5083774"/>
                  <a:pt x="-2244" y="5103370"/>
                  <a:pt x="719" y="5097208"/>
                </a:cubicBezTo>
                <a:lnTo>
                  <a:pt x="1034758" y="0"/>
                </a:lnTo>
                <a:close/>
              </a:path>
            </a:pathLst>
          </a:custGeom>
          <a:gradFill>
            <a:gsLst>
              <a:gs pos="15000">
                <a:schemeClr val="accent2"/>
              </a:gs>
              <a:gs pos="76000">
                <a:schemeClr val="accent1"/>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2" name="Freeform 31"/>
          <p:cNvSpPr/>
          <p:nvPr/>
        </p:nvSpPr>
        <p:spPr>
          <a:xfrm>
            <a:off x="8694845" y="2426110"/>
            <a:ext cx="2293341" cy="4440419"/>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 name="connsiteX0" fmla="*/ 958645 w 2269487"/>
              <a:gd name="connsiteY0" fmla="*/ 0 h 4424516"/>
              <a:gd name="connsiteX1" fmla="*/ 2269487 w 2269487"/>
              <a:gd name="connsiteY1" fmla="*/ 1388112 h 4424516"/>
              <a:gd name="connsiteX2" fmla="*/ 0 w 2269487"/>
              <a:gd name="connsiteY2" fmla="*/ 4424516 h 4424516"/>
              <a:gd name="connsiteX3" fmla="*/ 958645 w 2269487"/>
              <a:gd name="connsiteY3" fmla="*/ 0 h 4424516"/>
              <a:gd name="connsiteX0" fmla="*/ 982499 w 2293341"/>
              <a:gd name="connsiteY0" fmla="*/ 0 h 4440419"/>
              <a:gd name="connsiteX1" fmla="*/ 2293341 w 2293341"/>
              <a:gd name="connsiteY1" fmla="*/ 1388112 h 4440419"/>
              <a:gd name="connsiteX2" fmla="*/ 0 w 2293341"/>
              <a:gd name="connsiteY2" fmla="*/ 4440419 h 4440419"/>
              <a:gd name="connsiteX3" fmla="*/ 982499 w 2293341"/>
              <a:gd name="connsiteY3" fmla="*/ 0 h 4440419"/>
            </a:gdLst>
            <a:ahLst/>
            <a:cxnLst>
              <a:cxn ang="0">
                <a:pos x="connsiteX0" y="connsiteY0"/>
              </a:cxn>
              <a:cxn ang="0">
                <a:pos x="connsiteX1" y="connsiteY1"/>
              </a:cxn>
              <a:cxn ang="0">
                <a:pos x="connsiteX2" y="connsiteY2"/>
              </a:cxn>
              <a:cxn ang="0">
                <a:pos x="connsiteX3" y="connsiteY3"/>
              </a:cxn>
            </a:cxnLst>
            <a:rect l="l" t="t" r="r" b="b"/>
            <a:pathLst>
              <a:path w="2293341" h="4440419">
                <a:moveTo>
                  <a:pt x="982499" y="0"/>
                </a:moveTo>
                <a:lnTo>
                  <a:pt x="2293341" y="1388112"/>
                </a:lnTo>
                <a:lnTo>
                  <a:pt x="0" y="4440419"/>
                </a:lnTo>
                <a:lnTo>
                  <a:pt x="982499" y="0"/>
                </a:lnTo>
                <a:close/>
              </a:path>
            </a:pathLst>
          </a:custGeom>
          <a:gradFill>
            <a:gsLst>
              <a:gs pos="34000">
                <a:schemeClr val="accent2"/>
              </a:gs>
              <a:gs pos="100000">
                <a:schemeClr val="accent1"/>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3" name="Freeform 32"/>
          <p:cNvSpPr/>
          <p:nvPr/>
        </p:nvSpPr>
        <p:spPr>
          <a:xfrm>
            <a:off x="9669015" y="1094096"/>
            <a:ext cx="2522985" cy="2734954"/>
          </a:xfrm>
          <a:custGeom>
            <a:avLst/>
            <a:gdLst>
              <a:gd name="connsiteX0" fmla="*/ 2481262 w 2481262"/>
              <a:gd name="connsiteY0" fmla="*/ 0 h 2762250"/>
              <a:gd name="connsiteX1" fmla="*/ 0 w 2481262"/>
              <a:gd name="connsiteY1" fmla="*/ 1371600 h 2762250"/>
              <a:gd name="connsiteX2" fmla="*/ 1309687 w 2481262"/>
              <a:gd name="connsiteY2" fmla="*/ 2762250 h 2762250"/>
              <a:gd name="connsiteX3" fmla="*/ 2481262 w 2481262"/>
              <a:gd name="connsiteY3" fmla="*/ 0 h 2762250"/>
              <a:gd name="connsiteX0" fmla="*/ 2481262 w 2481262"/>
              <a:gd name="connsiteY0" fmla="*/ 0 h 2762250"/>
              <a:gd name="connsiteX1" fmla="*/ 0 w 2481262"/>
              <a:gd name="connsiteY1" fmla="*/ 1371600 h 2762250"/>
              <a:gd name="connsiteX2" fmla="*/ 1292857 w 2481262"/>
              <a:gd name="connsiteY2" fmla="*/ 2762250 h 2762250"/>
              <a:gd name="connsiteX3" fmla="*/ 2481262 w 2481262"/>
              <a:gd name="connsiteY3" fmla="*/ 0 h 2762250"/>
              <a:gd name="connsiteX0" fmla="*/ 2509311 w 2509311"/>
              <a:gd name="connsiteY0" fmla="*/ 0 h 2762250"/>
              <a:gd name="connsiteX1" fmla="*/ 0 w 2509311"/>
              <a:gd name="connsiteY1" fmla="*/ 1354771 h 2762250"/>
              <a:gd name="connsiteX2" fmla="*/ 1320906 w 2509311"/>
              <a:gd name="connsiteY2" fmla="*/ 2762250 h 2762250"/>
              <a:gd name="connsiteX3" fmla="*/ 2509311 w 2509311"/>
              <a:gd name="connsiteY3" fmla="*/ 0 h 2762250"/>
              <a:gd name="connsiteX0" fmla="*/ 2519943 w 2519943"/>
              <a:gd name="connsiteY0" fmla="*/ 0 h 2762250"/>
              <a:gd name="connsiteX1" fmla="*/ 0 w 2519943"/>
              <a:gd name="connsiteY1" fmla="*/ 1354771 h 2762250"/>
              <a:gd name="connsiteX2" fmla="*/ 1320906 w 2519943"/>
              <a:gd name="connsiteY2" fmla="*/ 2762250 h 2762250"/>
              <a:gd name="connsiteX3" fmla="*/ 2519943 w 2519943"/>
              <a:gd name="connsiteY3" fmla="*/ 0 h 2762250"/>
              <a:gd name="connsiteX0" fmla="*/ 2530575 w 2530575"/>
              <a:gd name="connsiteY0" fmla="*/ 0 h 2762250"/>
              <a:gd name="connsiteX1" fmla="*/ 0 w 2530575"/>
              <a:gd name="connsiteY1" fmla="*/ 1354771 h 2762250"/>
              <a:gd name="connsiteX2" fmla="*/ 1320906 w 2530575"/>
              <a:gd name="connsiteY2" fmla="*/ 2762250 h 2762250"/>
              <a:gd name="connsiteX3" fmla="*/ 2530575 w 2530575"/>
              <a:gd name="connsiteY3" fmla="*/ 0 h 2762250"/>
            </a:gdLst>
            <a:ahLst/>
            <a:cxnLst>
              <a:cxn ang="0">
                <a:pos x="connsiteX0" y="connsiteY0"/>
              </a:cxn>
              <a:cxn ang="0">
                <a:pos x="connsiteX1" y="connsiteY1"/>
              </a:cxn>
              <a:cxn ang="0">
                <a:pos x="connsiteX2" y="connsiteY2"/>
              </a:cxn>
              <a:cxn ang="0">
                <a:pos x="connsiteX3" y="connsiteY3"/>
              </a:cxn>
            </a:cxnLst>
            <a:rect l="l" t="t" r="r" b="b"/>
            <a:pathLst>
              <a:path w="2530575" h="2762250">
                <a:moveTo>
                  <a:pt x="2530575" y="0"/>
                </a:moveTo>
                <a:lnTo>
                  <a:pt x="0" y="1354771"/>
                </a:lnTo>
                <a:lnTo>
                  <a:pt x="1320906" y="2762250"/>
                </a:lnTo>
                <a:lnTo>
                  <a:pt x="2530575" y="0"/>
                </a:lnTo>
                <a:close/>
              </a:path>
            </a:pathLst>
          </a:custGeom>
          <a:gradFill>
            <a:gsLst>
              <a:gs pos="2100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4" name="Freeform 33"/>
          <p:cNvSpPr/>
          <p:nvPr/>
        </p:nvSpPr>
        <p:spPr>
          <a:xfrm>
            <a:off x="3317358" y="-5316"/>
            <a:ext cx="4354033" cy="1222744"/>
          </a:xfrm>
          <a:custGeom>
            <a:avLst/>
            <a:gdLst>
              <a:gd name="connsiteX0" fmla="*/ 0 w 4354033"/>
              <a:gd name="connsiteY0" fmla="*/ 0 h 1217428"/>
              <a:gd name="connsiteX1" fmla="*/ 3067493 w 4354033"/>
              <a:gd name="connsiteY1" fmla="*/ 10632 h 1217428"/>
              <a:gd name="connsiteX2" fmla="*/ 4354033 w 4354033"/>
              <a:gd name="connsiteY2" fmla="*/ 1217428 h 1217428"/>
              <a:gd name="connsiteX3" fmla="*/ 0 w 4354033"/>
              <a:gd name="connsiteY3" fmla="*/ 0 h 1217428"/>
              <a:gd name="connsiteX0" fmla="*/ 0 w 4354033"/>
              <a:gd name="connsiteY0" fmla="*/ 0 h 1217428"/>
              <a:gd name="connsiteX1" fmla="*/ 3088758 w 4354033"/>
              <a:gd name="connsiteY1" fmla="*/ 10632 h 1217428"/>
              <a:gd name="connsiteX2" fmla="*/ 4354033 w 4354033"/>
              <a:gd name="connsiteY2" fmla="*/ 1217428 h 1217428"/>
              <a:gd name="connsiteX3" fmla="*/ 0 w 4354033"/>
              <a:gd name="connsiteY3" fmla="*/ 0 h 1217428"/>
              <a:gd name="connsiteX0" fmla="*/ 0 w 4375298"/>
              <a:gd name="connsiteY0" fmla="*/ 0 h 1217428"/>
              <a:gd name="connsiteX1" fmla="*/ 3088758 w 4375298"/>
              <a:gd name="connsiteY1" fmla="*/ 10632 h 1217428"/>
              <a:gd name="connsiteX2" fmla="*/ 4375298 w 4375298"/>
              <a:gd name="connsiteY2" fmla="*/ 1217428 h 1217428"/>
              <a:gd name="connsiteX3" fmla="*/ 0 w 4375298"/>
              <a:gd name="connsiteY3" fmla="*/ 0 h 1217428"/>
              <a:gd name="connsiteX0" fmla="*/ 0 w 4364666"/>
              <a:gd name="connsiteY0" fmla="*/ 0 h 1217428"/>
              <a:gd name="connsiteX1" fmla="*/ 3088758 w 4364666"/>
              <a:gd name="connsiteY1" fmla="*/ 10632 h 1217428"/>
              <a:gd name="connsiteX2" fmla="*/ 4364666 w 4364666"/>
              <a:gd name="connsiteY2" fmla="*/ 1217428 h 1217428"/>
              <a:gd name="connsiteX3" fmla="*/ 0 w 4364666"/>
              <a:gd name="connsiteY3" fmla="*/ 0 h 1217428"/>
              <a:gd name="connsiteX0" fmla="*/ 0 w 4354033"/>
              <a:gd name="connsiteY0" fmla="*/ 0 h 1222744"/>
              <a:gd name="connsiteX1" fmla="*/ 3088758 w 4354033"/>
              <a:gd name="connsiteY1" fmla="*/ 10632 h 1222744"/>
              <a:gd name="connsiteX2" fmla="*/ 4354033 w 4354033"/>
              <a:gd name="connsiteY2" fmla="*/ 1222744 h 1222744"/>
              <a:gd name="connsiteX3" fmla="*/ 0 w 4354033"/>
              <a:gd name="connsiteY3" fmla="*/ 0 h 1222744"/>
              <a:gd name="connsiteX0" fmla="*/ 0 w 4354033"/>
              <a:gd name="connsiteY0" fmla="*/ 5317 h 1228061"/>
              <a:gd name="connsiteX1" fmla="*/ 3083442 w 4354033"/>
              <a:gd name="connsiteY1" fmla="*/ 0 h 1228061"/>
              <a:gd name="connsiteX2" fmla="*/ 4354033 w 4354033"/>
              <a:gd name="connsiteY2" fmla="*/ 1228061 h 1228061"/>
              <a:gd name="connsiteX3" fmla="*/ 0 w 4354033"/>
              <a:gd name="connsiteY3" fmla="*/ 5317 h 1228061"/>
              <a:gd name="connsiteX0" fmla="*/ 0 w 4354033"/>
              <a:gd name="connsiteY0" fmla="*/ 0 h 1222744"/>
              <a:gd name="connsiteX1" fmla="*/ 3094074 w 4354033"/>
              <a:gd name="connsiteY1" fmla="*/ 5315 h 1222744"/>
              <a:gd name="connsiteX2" fmla="*/ 4354033 w 4354033"/>
              <a:gd name="connsiteY2" fmla="*/ 1222744 h 1222744"/>
              <a:gd name="connsiteX3" fmla="*/ 0 w 4354033"/>
              <a:gd name="connsiteY3" fmla="*/ 0 h 1222744"/>
            </a:gdLst>
            <a:ahLst/>
            <a:cxnLst>
              <a:cxn ang="0">
                <a:pos x="connsiteX0" y="connsiteY0"/>
              </a:cxn>
              <a:cxn ang="0">
                <a:pos x="connsiteX1" y="connsiteY1"/>
              </a:cxn>
              <a:cxn ang="0">
                <a:pos x="connsiteX2" y="connsiteY2"/>
              </a:cxn>
              <a:cxn ang="0">
                <a:pos x="connsiteX3" y="connsiteY3"/>
              </a:cxn>
            </a:cxnLst>
            <a:rect l="l" t="t" r="r" b="b"/>
            <a:pathLst>
              <a:path w="4354033" h="1222744">
                <a:moveTo>
                  <a:pt x="0" y="0"/>
                </a:moveTo>
                <a:lnTo>
                  <a:pt x="3094074" y="5315"/>
                </a:lnTo>
                <a:lnTo>
                  <a:pt x="4354033" y="1222744"/>
                </a:lnTo>
                <a:lnTo>
                  <a:pt x="0" y="0"/>
                </a:lnTo>
                <a:close/>
              </a:path>
            </a:pathLst>
          </a:custGeom>
          <a:gradFill>
            <a:gsLst>
              <a:gs pos="100000">
                <a:schemeClr val="accent2"/>
              </a:gs>
              <a:gs pos="4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8690615" y="3783805"/>
            <a:ext cx="2797640" cy="3086077"/>
          </a:xfrm>
          <a:custGeom>
            <a:avLst/>
            <a:gdLst>
              <a:gd name="connsiteX0" fmla="*/ 2270113 w 2753791"/>
              <a:gd name="connsiteY0" fmla="*/ 0 h 3029171"/>
              <a:gd name="connsiteX1" fmla="*/ 0 w 2753791"/>
              <a:gd name="connsiteY1" fmla="*/ 3025640 h 3029171"/>
              <a:gd name="connsiteX2" fmla="*/ 2753791 w 2753791"/>
              <a:gd name="connsiteY2" fmla="*/ 3029171 h 3029171"/>
              <a:gd name="connsiteX3" fmla="*/ 2270113 w 2753791"/>
              <a:gd name="connsiteY3" fmla="*/ 0 h 3029171"/>
              <a:gd name="connsiteX0" fmla="*/ 2247810 w 2753791"/>
              <a:gd name="connsiteY0" fmla="*/ 0 h 3073776"/>
              <a:gd name="connsiteX1" fmla="*/ 0 w 2753791"/>
              <a:gd name="connsiteY1" fmla="*/ 3070245 h 3073776"/>
              <a:gd name="connsiteX2" fmla="*/ 2753791 w 2753791"/>
              <a:gd name="connsiteY2" fmla="*/ 3073776 h 3073776"/>
              <a:gd name="connsiteX3" fmla="*/ 2247810 w 2753791"/>
              <a:gd name="connsiteY3" fmla="*/ 0 h 3073776"/>
              <a:gd name="connsiteX0" fmla="*/ 2311420 w 2817401"/>
              <a:gd name="connsiteY0" fmla="*/ 0 h 3073776"/>
              <a:gd name="connsiteX1" fmla="*/ 0 w 2817401"/>
              <a:gd name="connsiteY1" fmla="*/ 3062294 h 3073776"/>
              <a:gd name="connsiteX2" fmla="*/ 2817401 w 2817401"/>
              <a:gd name="connsiteY2" fmla="*/ 3073776 h 3073776"/>
              <a:gd name="connsiteX3" fmla="*/ 2311420 w 2817401"/>
              <a:gd name="connsiteY3" fmla="*/ 0 h 3073776"/>
              <a:gd name="connsiteX0" fmla="*/ 2311420 w 2817401"/>
              <a:gd name="connsiteY0" fmla="*/ 0 h 3089589"/>
              <a:gd name="connsiteX1" fmla="*/ 0 w 2817401"/>
              <a:gd name="connsiteY1" fmla="*/ 3089589 h 3089589"/>
              <a:gd name="connsiteX2" fmla="*/ 2817401 w 2817401"/>
              <a:gd name="connsiteY2" fmla="*/ 3073776 h 3089589"/>
              <a:gd name="connsiteX3" fmla="*/ 2311420 w 2817401"/>
              <a:gd name="connsiteY3" fmla="*/ 0 h 3089589"/>
              <a:gd name="connsiteX0" fmla="*/ 2306657 w 2812638"/>
              <a:gd name="connsiteY0" fmla="*/ 0 h 3089589"/>
              <a:gd name="connsiteX1" fmla="*/ 0 w 2812638"/>
              <a:gd name="connsiteY1" fmla="*/ 3089589 h 3089589"/>
              <a:gd name="connsiteX2" fmla="*/ 2812638 w 2812638"/>
              <a:gd name="connsiteY2" fmla="*/ 3073776 h 3089589"/>
              <a:gd name="connsiteX3" fmla="*/ 2306657 w 2812638"/>
              <a:gd name="connsiteY3" fmla="*/ 0 h 3089589"/>
              <a:gd name="connsiteX0" fmla="*/ 2306657 w 2812638"/>
              <a:gd name="connsiteY0" fmla="*/ 0 h 3084826"/>
              <a:gd name="connsiteX1" fmla="*/ 0 w 2812638"/>
              <a:gd name="connsiteY1" fmla="*/ 3084826 h 3084826"/>
              <a:gd name="connsiteX2" fmla="*/ 2812638 w 2812638"/>
              <a:gd name="connsiteY2" fmla="*/ 3073776 h 3084826"/>
              <a:gd name="connsiteX3" fmla="*/ 2306657 w 2812638"/>
              <a:gd name="connsiteY3" fmla="*/ 0 h 3084826"/>
              <a:gd name="connsiteX0" fmla="*/ 2292370 w 2798351"/>
              <a:gd name="connsiteY0" fmla="*/ 0 h 3084826"/>
              <a:gd name="connsiteX1" fmla="*/ 0 w 2798351"/>
              <a:gd name="connsiteY1" fmla="*/ 3084826 h 3084826"/>
              <a:gd name="connsiteX2" fmla="*/ 2798351 w 2798351"/>
              <a:gd name="connsiteY2" fmla="*/ 3073776 h 3084826"/>
              <a:gd name="connsiteX3" fmla="*/ 2292370 w 279835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311420 w 2804701"/>
              <a:gd name="connsiteY0" fmla="*/ 0 h 3084826"/>
              <a:gd name="connsiteX1" fmla="*/ 0 w 2804701"/>
              <a:gd name="connsiteY1" fmla="*/ 3084826 h 3084826"/>
              <a:gd name="connsiteX2" fmla="*/ 2804701 w 2804701"/>
              <a:gd name="connsiteY2" fmla="*/ 3073776 h 3084826"/>
              <a:gd name="connsiteX3" fmla="*/ 2311420 w 2804701"/>
              <a:gd name="connsiteY3" fmla="*/ 0 h 3084826"/>
              <a:gd name="connsiteX0" fmla="*/ 2311420 w 2804701"/>
              <a:gd name="connsiteY0" fmla="*/ 0 h 3087424"/>
              <a:gd name="connsiteX1" fmla="*/ 0 w 2804701"/>
              <a:gd name="connsiteY1" fmla="*/ 3084826 h 3087424"/>
              <a:gd name="connsiteX2" fmla="*/ 2804701 w 2804701"/>
              <a:gd name="connsiteY2" fmla="*/ 3087424 h 3087424"/>
              <a:gd name="connsiteX3" fmla="*/ 2311420 w 2804701"/>
              <a:gd name="connsiteY3" fmla="*/ 0 h 3087424"/>
              <a:gd name="connsiteX0" fmla="*/ 2311420 w 2818349"/>
              <a:gd name="connsiteY0" fmla="*/ 0 h 3087424"/>
              <a:gd name="connsiteX1" fmla="*/ 0 w 2818349"/>
              <a:gd name="connsiteY1" fmla="*/ 3084826 h 3087424"/>
              <a:gd name="connsiteX2" fmla="*/ 2818349 w 2818349"/>
              <a:gd name="connsiteY2" fmla="*/ 3087424 h 3087424"/>
              <a:gd name="connsiteX3" fmla="*/ 2311420 w 2818349"/>
              <a:gd name="connsiteY3" fmla="*/ 0 h 3087424"/>
            </a:gdLst>
            <a:ahLst/>
            <a:cxnLst>
              <a:cxn ang="0">
                <a:pos x="connsiteX0" y="connsiteY0"/>
              </a:cxn>
              <a:cxn ang="0">
                <a:pos x="connsiteX1" y="connsiteY1"/>
              </a:cxn>
              <a:cxn ang="0">
                <a:pos x="connsiteX2" y="connsiteY2"/>
              </a:cxn>
              <a:cxn ang="0">
                <a:pos x="connsiteX3" y="connsiteY3"/>
              </a:cxn>
            </a:cxnLst>
            <a:rect l="l" t="t" r="r" b="b"/>
            <a:pathLst>
              <a:path w="2818349" h="3087424">
                <a:moveTo>
                  <a:pt x="2311420" y="0"/>
                </a:moveTo>
                <a:lnTo>
                  <a:pt x="0" y="3084826"/>
                </a:lnTo>
                <a:lnTo>
                  <a:pt x="2818349" y="3087424"/>
                </a:lnTo>
                <a:lnTo>
                  <a:pt x="2311420" y="0"/>
                </a:lnTo>
                <a:close/>
              </a:path>
            </a:pathLst>
          </a:custGeom>
          <a:gradFill>
            <a:gsLst>
              <a:gs pos="11000">
                <a:schemeClr val="accent2"/>
              </a:gs>
              <a:gs pos="78000">
                <a:schemeClr val="accent1"/>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6" name="Freeform 35"/>
          <p:cNvSpPr/>
          <p:nvPr/>
        </p:nvSpPr>
        <p:spPr>
          <a:xfrm>
            <a:off x="7660347" y="1094096"/>
            <a:ext cx="4531653" cy="1344304"/>
          </a:xfrm>
          <a:custGeom>
            <a:avLst/>
            <a:gdLst>
              <a:gd name="connsiteX0" fmla="*/ 0 w 4533900"/>
              <a:gd name="connsiteY0" fmla="*/ 142875 h 1371600"/>
              <a:gd name="connsiteX1" fmla="*/ 4533900 w 4533900"/>
              <a:gd name="connsiteY1" fmla="*/ 0 h 1371600"/>
              <a:gd name="connsiteX2" fmla="*/ 2043113 w 4533900"/>
              <a:gd name="connsiteY2" fmla="*/ 1371600 h 1371600"/>
              <a:gd name="connsiteX3" fmla="*/ 0 w 4533900"/>
              <a:gd name="connsiteY3" fmla="*/ 142875 h 1371600"/>
              <a:gd name="connsiteX0" fmla="*/ 0 w 4533900"/>
              <a:gd name="connsiteY0" fmla="*/ 142875 h 1371600"/>
              <a:gd name="connsiteX1" fmla="*/ 4533900 w 4533900"/>
              <a:gd name="connsiteY1" fmla="*/ 0 h 1371600"/>
              <a:gd name="connsiteX2" fmla="*/ 2021848 w 4533900"/>
              <a:gd name="connsiteY2" fmla="*/ 1371600 h 1371600"/>
              <a:gd name="connsiteX3" fmla="*/ 0 w 4533900"/>
              <a:gd name="connsiteY3" fmla="*/ 142875 h 1371600"/>
              <a:gd name="connsiteX0" fmla="*/ 0 w 4544532"/>
              <a:gd name="connsiteY0" fmla="*/ 153508 h 1371600"/>
              <a:gd name="connsiteX1" fmla="*/ 4544532 w 4544532"/>
              <a:gd name="connsiteY1" fmla="*/ 0 h 1371600"/>
              <a:gd name="connsiteX2" fmla="*/ 2032480 w 4544532"/>
              <a:gd name="connsiteY2" fmla="*/ 1371600 h 1371600"/>
              <a:gd name="connsiteX3" fmla="*/ 0 w 4544532"/>
              <a:gd name="connsiteY3" fmla="*/ 153508 h 1371600"/>
              <a:gd name="connsiteX0" fmla="*/ 0 w 4544532"/>
              <a:gd name="connsiteY0" fmla="*/ 142875 h 1371600"/>
              <a:gd name="connsiteX1" fmla="*/ 4544532 w 4544532"/>
              <a:gd name="connsiteY1" fmla="*/ 0 h 1371600"/>
              <a:gd name="connsiteX2" fmla="*/ 2032480 w 4544532"/>
              <a:gd name="connsiteY2" fmla="*/ 1371600 h 1371600"/>
              <a:gd name="connsiteX3" fmla="*/ 0 w 4544532"/>
              <a:gd name="connsiteY3" fmla="*/ 142875 h 1371600"/>
              <a:gd name="connsiteX0" fmla="*/ 0 w 4536805"/>
              <a:gd name="connsiteY0" fmla="*/ 148026 h 1371600"/>
              <a:gd name="connsiteX1" fmla="*/ 4536805 w 4536805"/>
              <a:gd name="connsiteY1" fmla="*/ 0 h 1371600"/>
              <a:gd name="connsiteX2" fmla="*/ 2024753 w 4536805"/>
              <a:gd name="connsiteY2" fmla="*/ 1371600 h 1371600"/>
              <a:gd name="connsiteX3" fmla="*/ 0 w 4536805"/>
              <a:gd name="connsiteY3" fmla="*/ 148026 h 1371600"/>
              <a:gd name="connsiteX0" fmla="*/ 0 w 4531653"/>
              <a:gd name="connsiteY0" fmla="*/ 142874 h 1371600"/>
              <a:gd name="connsiteX1" fmla="*/ 4531653 w 4531653"/>
              <a:gd name="connsiteY1" fmla="*/ 0 h 1371600"/>
              <a:gd name="connsiteX2" fmla="*/ 2019601 w 4531653"/>
              <a:gd name="connsiteY2" fmla="*/ 1371600 h 1371600"/>
              <a:gd name="connsiteX3" fmla="*/ 0 w 4531653"/>
              <a:gd name="connsiteY3" fmla="*/ 142874 h 1371600"/>
              <a:gd name="connsiteX0" fmla="*/ 0 w 3944799"/>
              <a:gd name="connsiteY0" fmla="*/ 33692 h 1262418"/>
              <a:gd name="connsiteX1" fmla="*/ 3944799 w 3944799"/>
              <a:gd name="connsiteY1" fmla="*/ 0 h 1262418"/>
              <a:gd name="connsiteX2" fmla="*/ 2019601 w 3944799"/>
              <a:gd name="connsiteY2" fmla="*/ 1262418 h 1262418"/>
              <a:gd name="connsiteX3" fmla="*/ 0 w 3944799"/>
              <a:gd name="connsiteY3" fmla="*/ 33692 h 1262418"/>
              <a:gd name="connsiteX0" fmla="*/ 0 w 4531653"/>
              <a:gd name="connsiteY0" fmla="*/ 115578 h 1344304"/>
              <a:gd name="connsiteX1" fmla="*/ 4531653 w 4531653"/>
              <a:gd name="connsiteY1" fmla="*/ 0 h 1344304"/>
              <a:gd name="connsiteX2" fmla="*/ 2019601 w 4531653"/>
              <a:gd name="connsiteY2" fmla="*/ 1344304 h 1344304"/>
              <a:gd name="connsiteX3" fmla="*/ 0 w 4531653"/>
              <a:gd name="connsiteY3" fmla="*/ 115578 h 1344304"/>
            </a:gdLst>
            <a:ahLst/>
            <a:cxnLst>
              <a:cxn ang="0">
                <a:pos x="connsiteX0" y="connsiteY0"/>
              </a:cxn>
              <a:cxn ang="0">
                <a:pos x="connsiteX1" y="connsiteY1"/>
              </a:cxn>
              <a:cxn ang="0">
                <a:pos x="connsiteX2" y="connsiteY2"/>
              </a:cxn>
              <a:cxn ang="0">
                <a:pos x="connsiteX3" y="connsiteY3"/>
              </a:cxn>
            </a:cxnLst>
            <a:rect l="l" t="t" r="r" b="b"/>
            <a:pathLst>
              <a:path w="4531653" h="1344304">
                <a:moveTo>
                  <a:pt x="0" y="115578"/>
                </a:moveTo>
                <a:lnTo>
                  <a:pt x="4531653" y="0"/>
                </a:lnTo>
                <a:lnTo>
                  <a:pt x="2019601" y="1344304"/>
                </a:lnTo>
                <a:lnTo>
                  <a:pt x="0" y="115578"/>
                </a:lnTo>
                <a:close/>
              </a:path>
            </a:pathLst>
          </a:custGeom>
          <a:gradFill>
            <a:gsLst>
              <a:gs pos="9000">
                <a:schemeClr val="accent1"/>
              </a:gs>
              <a:gs pos="100000">
                <a:schemeClr val="accent2"/>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7" name="Freeform 36"/>
          <p:cNvSpPr/>
          <p:nvPr/>
        </p:nvSpPr>
        <p:spPr>
          <a:xfrm>
            <a:off x="4067336" y="4705135"/>
            <a:ext cx="4628534" cy="2161794"/>
          </a:xfrm>
          <a:custGeom>
            <a:avLst/>
            <a:gdLst>
              <a:gd name="connsiteX0" fmla="*/ 0 w 4632158"/>
              <a:gd name="connsiteY0" fmla="*/ 1239253 h 2129590"/>
              <a:gd name="connsiteX1" fmla="*/ 3645569 w 4632158"/>
              <a:gd name="connsiteY1" fmla="*/ 0 h 2129590"/>
              <a:gd name="connsiteX2" fmla="*/ 4632158 w 4632158"/>
              <a:gd name="connsiteY2" fmla="*/ 2129590 h 2129590"/>
              <a:gd name="connsiteX3" fmla="*/ 0 w 4632158"/>
              <a:gd name="connsiteY3" fmla="*/ 1239253 h 2129590"/>
              <a:gd name="connsiteX0" fmla="*/ 0 w 4632158"/>
              <a:gd name="connsiteY0" fmla="*/ 1243228 h 2133565"/>
              <a:gd name="connsiteX1" fmla="*/ 3641593 w 4632158"/>
              <a:gd name="connsiteY1" fmla="*/ 0 h 2133565"/>
              <a:gd name="connsiteX2" fmla="*/ 4632158 w 4632158"/>
              <a:gd name="connsiteY2" fmla="*/ 2133565 h 2133565"/>
              <a:gd name="connsiteX3" fmla="*/ 0 w 4632158"/>
              <a:gd name="connsiteY3" fmla="*/ 1243228 h 2133565"/>
              <a:gd name="connsiteX0" fmla="*/ 0 w 4656011"/>
              <a:gd name="connsiteY0" fmla="*/ 1243228 h 2157419"/>
              <a:gd name="connsiteX1" fmla="*/ 3641593 w 4656011"/>
              <a:gd name="connsiteY1" fmla="*/ 0 h 2157419"/>
              <a:gd name="connsiteX2" fmla="*/ 4656011 w 4656011"/>
              <a:gd name="connsiteY2" fmla="*/ 2157419 h 2157419"/>
              <a:gd name="connsiteX3" fmla="*/ 0 w 4656011"/>
              <a:gd name="connsiteY3" fmla="*/ 1243228 h 2157419"/>
              <a:gd name="connsiteX0" fmla="*/ 0 w 4659987"/>
              <a:gd name="connsiteY0" fmla="*/ 1247204 h 2157419"/>
              <a:gd name="connsiteX1" fmla="*/ 3645569 w 4659987"/>
              <a:gd name="connsiteY1" fmla="*/ 0 h 2157419"/>
              <a:gd name="connsiteX2" fmla="*/ 4659987 w 4659987"/>
              <a:gd name="connsiteY2" fmla="*/ 2157419 h 2157419"/>
              <a:gd name="connsiteX3" fmla="*/ 0 w 4659987"/>
              <a:gd name="connsiteY3" fmla="*/ 1247204 h 2157419"/>
              <a:gd name="connsiteX0" fmla="*/ 0 w 4667938"/>
              <a:gd name="connsiteY0" fmla="*/ 1263107 h 2157419"/>
              <a:gd name="connsiteX1" fmla="*/ 3653520 w 4667938"/>
              <a:gd name="connsiteY1" fmla="*/ 0 h 2157419"/>
              <a:gd name="connsiteX2" fmla="*/ 4667938 w 4667938"/>
              <a:gd name="connsiteY2" fmla="*/ 2157419 h 2157419"/>
              <a:gd name="connsiteX3" fmla="*/ 0 w 4667938"/>
              <a:gd name="connsiteY3" fmla="*/ 1263107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59987"/>
              <a:gd name="connsiteY0" fmla="*/ 1251181 h 2157419"/>
              <a:gd name="connsiteX1" fmla="*/ 3645569 w 4659987"/>
              <a:gd name="connsiteY1" fmla="*/ 0 h 2157419"/>
              <a:gd name="connsiteX2" fmla="*/ 4659987 w 4659987"/>
              <a:gd name="connsiteY2" fmla="*/ 2157419 h 2157419"/>
              <a:gd name="connsiteX3" fmla="*/ 0 w 4659987"/>
              <a:gd name="connsiteY3" fmla="*/ 1251181 h 2157419"/>
              <a:gd name="connsiteX0" fmla="*/ 0 w 4674275"/>
              <a:gd name="connsiteY0" fmla="*/ 1251181 h 2157419"/>
              <a:gd name="connsiteX1" fmla="*/ 3645569 w 4674275"/>
              <a:gd name="connsiteY1" fmla="*/ 0 h 2157419"/>
              <a:gd name="connsiteX2" fmla="*/ 4674275 w 4674275"/>
              <a:gd name="connsiteY2" fmla="*/ 2157419 h 2157419"/>
              <a:gd name="connsiteX3" fmla="*/ 0 w 4674275"/>
              <a:gd name="connsiteY3" fmla="*/ 1251181 h 2157419"/>
              <a:gd name="connsiteX0" fmla="*/ 0 w 4683800"/>
              <a:gd name="connsiteY0" fmla="*/ 1251181 h 2157419"/>
              <a:gd name="connsiteX1" fmla="*/ 3655094 w 4683800"/>
              <a:gd name="connsiteY1" fmla="*/ 0 h 2157419"/>
              <a:gd name="connsiteX2" fmla="*/ 4683800 w 4683800"/>
              <a:gd name="connsiteY2" fmla="*/ 2157419 h 2157419"/>
              <a:gd name="connsiteX3" fmla="*/ 0 w 4683800"/>
              <a:gd name="connsiteY3" fmla="*/ 1251181 h 2157419"/>
              <a:gd name="connsiteX0" fmla="*/ 0 w 4695230"/>
              <a:gd name="connsiteY0" fmla="*/ 1251181 h 2157419"/>
              <a:gd name="connsiteX1" fmla="*/ 3666524 w 4695230"/>
              <a:gd name="connsiteY1" fmla="*/ 0 h 2157419"/>
              <a:gd name="connsiteX2" fmla="*/ 4695230 w 4695230"/>
              <a:gd name="connsiteY2" fmla="*/ 2157419 h 2157419"/>
              <a:gd name="connsiteX3" fmla="*/ 0 w 4695230"/>
              <a:gd name="connsiteY3" fmla="*/ 1251181 h 2157419"/>
              <a:gd name="connsiteX0" fmla="*/ 0 w 4695230"/>
              <a:gd name="connsiteY0" fmla="*/ 1251181 h 2171067"/>
              <a:gd name="connsiteX1" fmla="*/ 3666524 w 4695230"/>
              <a:gd name="connsiteY1" fmla="*/ 0 h 2171067"/>
              <a:gd name="connsiteX2" fmla="*/ 4695230 w 4695230"/>
              <a:gd name="connsiteY2" fmla="*/ 2171067 h 2171067"/>
              <a:gd name="connsiteX3" fmla="*/ 0 w 4695230"/>
              <a:gd name="connsiteY3" fmla="*/ 1251181 h 2171067"/>
              <a:gd name="connsiteX0" fmla="*/ 0 w 4708878"/>
              <a:gd name="connsiteY0" fmla="*/ 1251181 h 2184715"/>
              <a:gd name="connsiteX1" fmla="*/ 3666524 w 4708878"/>
              <a:gd name="connsiteY1" fmla="*/ 0 h 2184715"/>
              <a:gd name="connsiteX2" fmla="*/ 4708878 w 4708878"/>
              <a:gd name="connsiteY2" fmla="*/ 2184715 h 2184715"/>
              <a:gd name="connsiteX3" fmla="*/ 0 w 4708878"/>
              <a:gd name="connsiteY3" fmla="*/ 1251181 h 2184715"/>
              <a:gd name="connsiteX0" fmla="*/ 0 w 4722526"/>
              <a:gd name="connsiteY0" fmla="*/ 1251181 h 2198363"/>
              <a:gd name="connsiteX1" fmla="*/ 3666524 w 4722526"/>
              <a:gd name="connsiteY1" fmla="*/ 0 h 2198363"/>
              <a:gd name="connsiteX2" fmla="*/ 4722526 w 4722526"/>
              <a:gd name="connsiteY2" fmla="*/ 2198363 h 2198363"/>
              <a:gd name="connsiteX3" fmla="*/ 0 w 4722526"/>
              <a:gd name="connsiteY3" fmla="*/ 1251181 h 2198363"/>
              <a:gd name="connsiteX0" fmla="*/ 0 w 4658916"/>
              <a:gd name="connsiteY0" fmla="*/ 1251181 h 2190411"/>
              <a:gd name="connsiteX1" fmla="*/ 3666524 w 4658916"/>
              <a:gd name="connsiteY1" fmla="*/ 0 h 2190411"/>
              <a:gd name="connsiteX2" fmla="*/ 4658916 w 4658916"/>
              <a:gd name="connsiteY2" fmla="*/ 2190411 h 2190411"/>
              <a:gd name="connsiteX3" fmla="*/ 0 w 4658916"/>
              <a:gd name="connsiteY3" fmla="*/ 1251181 h 2190411"/>
              <a:gd name="connsiteX0" fmla="*/ 0 w 4658916"/>
              <a:gd name="connsiteY0" fmla="*/ 1251181 h 2166557"/>
              <a:gd name="connsiteX1" fmla="*/ 3666524 w 4658916"/>
              <a:gd name="connsiteY1" fmla="*/ 0 h 2166557"/>
              <a:gd name="connsiteX2" fmla="*/ 4658916 w 4658916"/>
              <a:gd name="connsiteY2" fmla="*/ 2166557 h 2166557"/>
              <a:gd name="connsiteX3" fmla="*/ 0 w 4658916"/>
              <a:gd name="connsiteY3" fmla="*/ 1251181 h 2166557"/>
              <a:gd name="connsiteX0" fmla="*/ 0 w 4670136"/>
              <a:gd name="connsiteY0" fmla="*/ 1251181 h 2166557"/>
              <a:gd name="connsiteX1" fmla="*/ 3677744 w 4670136"/>
              <a:gd name="connsiteY1" fmla="*/ 0 h 2166557"/>
              <a:gd name="connsiteX2" fmla="*/ 4670136 w 4670136"/>
              <a:gd name="connsiteY2" fmla="*/ 2166557 h 2166557"/>
              <a:gd name="connsiteX3" fmla="*/ 0 w 4670136"/>
              <a:gd name="connsiteY3" fmla="*/ 1251181 h 2166557"/>
              <a:gd name="connsiteX0" fmla="*/ 0 w 4653306"/>
              <a:gd name="connsiteY0" fmla="*/ 1251181 h 2166557"/>
              <a:gd name="connsiteX1" fmla="*/ 3660914 w 4653306"/>
              <a:gd name="connsiteY1" fmla="*/ 0 h 2166557"/>
              <a:gd name="connsiteX2" fmla="*/ 4653306 w 4653306"/>
              <a:gd name="connsiteY2" fmla="*/ 2166557 h 2166557"/>
              <a:gd name="connsiteX3" fmla="*/ 0 w 4653306"/>
              <a:gd name="connsiteY3" fmla="*/ 1251181 h 2166557"/>
              <a:gd name="connsiteX0" fmla="*/ 0 w 4001299"/>
              <a:gd name="connsiteY0" fmla="*/ 869518 h 2166557"/>
              <a:gd name="connsiteX1" fmla="*/ 3008907 w 4001299"/>
              <a:gd name="connsiteY1" fmla="*/ 0 h 2166557"/>
              <a:gd name="connsiteX2" fmla="*/ 4001299 w 4001299"/>
              <a:gd name="connsiteY2" fmla="*/ 2166557 h 2166557"/>
              <a:gd name="connsiteX3" fmla="*/ 0 w 4001299"/>
              <a:gd name="connsiteY3" fmla="*/ 869518 h 2166557"/>
              <a:gd name="connsiteX0" fmla="*/ 0 w 4645354"/>
              <a:gd name="connsiteY0" fmla="*/ 1251181 h 2166557"/>
              <a:gd name="connsiteX1" fmla="*/ 3652962 w 4645354"/>
              <a:gd name="connsiteY1" fmla="*/ 0 h 2166557"/>
              <a:gd name="connsiteX2" fmla="*/ 4645354 w 4645354"/>
              <a:gd name="connsiteY2" fmla="*/ 2166557 h 2166557"/>
              <a:gd name="connsiteX3" fmla="*/ 0 w 4645354"/>
              <a:gd name="connsiteY3" fmla="*/ 1251181 h 2166557"/>
              <a:gd name="connsiteX0" fmla="*/ 0 w 4645354"/>
              <a:gd name="connsiteY0" fmla="*/ 1243230 h 2166557"/>
              <a:gd name="connsiteX1" fmla="*/ 3652962 w 4645354"/>
              <a:gd name="connsiteY1" fmla="*/ 0 h 2166557"/>
              <a:gd name="connsiteX2" fmla="*/ 4645354 w 4645354"/>
              <a:gd name="connsiteY2" fmla="*/ 2166557 h 2166557"/>
              <a:gd name="connsiteX3" fmla="*/ 0 w 4645354"/>
              <a:gd name="connsiteY3" fmla="*/ 1243230 h 2166557"/>
              <a:gd name="connsiteX0" fmla="*/ 0 w 4645354"/>
              <a:gd name="connsiteY0" fmla="*/ 1238467 h 2161794"/>
              <a:gd name="connsiteX1" fmla="*/ 3664911 w 4645354"/>
              <a:gd name="connsiteY1" fmla="*/ 0 h 2161794"/>
              <a:gd name="connsiteX2" fmla="*/ 4645354 w 4645354"/>
              <a:gd name="connsiteY2" fmla="*/ 2161794 h 2161794"/>
              <a:gd name="connsiteX3" fmla="*/ 0 w 4645354"/>
              <a:gd name="connsiteY3" fmla="*/ 1238467 h 2161794"/>
            </a:gdLst>
            <a:ahLst/>
            <a:cxnLst>
              <a:cxn ang="0">
                <a:pos x="connsiteX0" y="connsiteY0"/>
              </a:cxn>
              <a:cxn ang="0">
                <a:pos x="connsiteX1" y="connsiteY1"/>
              </a:cxn>
              <a:cxn ang="0">
                <a:pos x="connsiteX2" y="connsiteY2"/>
              </a:cxn>
              <a:cxn ang="0">
                <a:pos x="connsiteX3" y="connsiteY3"/>
              </a:cxn>
            </a:cxnLst>
            <a:rect l="l" t="t" r="r" b="b"/>
            <a:pathLst>
              <a:path w="4645354" h="2161794">
                <a:moveTo>
                  <a:pt x="0" y="1238467"/>
                </a:moveTo>
                <a:lnTo>
                  <a:pt x="3664911" y="0"/>
                </a:lnTo>
                <a:lnTo>
                  <a:pt x="4645354" y="2161794"/>
                </a:lnTo>
                <a:lnTo>
                  <a:pt x="0" y="1238467"/>
                </a:lnTo>
                <a:close/>
              </a:path>
            </a:pathLst>
          </a:custGeom>
          <a:gradFill>
            <a:gsLst>
              <a:gs pos="2000">
                <a:schemeClr val="accent1"/>
              </a:gs>
              <a:gs pos="100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8" name="Freeform 37"/>
          <p:cNvSpPr/>
          <p:nvPr/>
        </p:nvSpPr>
        <p:spPr>
          <a:xfrm>
            <a:off x="3541852" y="3007895"/>
            <a:ext cx="2834884" cy="2947737"/>
          </a:xfrm>
          <a:custGeom>
            <a:avLst/>
            <a:gdLst>
              <a:gd name="connsiteX0" fmla="*/ 0 w 2791326"/>
              <a:gd name="connsiteY0" fmla="*/ 1816768 h 2947737"/>
              <a:gd name="connsiteX1" fmla="*/ 493294 w 2791326"/>
              <a:gd name="connsiteY1" fmla="*/ 2947737 h 2947737"/>
              <a:gd name="connsiteX2" fmla="*/ 2791326 w 2791326"/>
              <a:gd name="connsiteY2" fmla="*/ 0 h 2947737"/>
              <a:gd name="connsiteX3" fmla="*/ 0 w 2791326"/>
              <a:gd name="connsiteY3" fmla="*/ 1816768 h 2947737"/>
              <a:gd name="connsiteX0" fmla="*/ 0 w 2799638"/>
              <a:gd name="connsiteY0" fmla="*/ 1845863 h 2947737"/>
              <a:gd name="connsiteX1" fmla="*/ 501606 w 2799638"/>
              <a:gd name="connsiteY1" fmla="*/ 2947737 h 2947737"/>
              <a:gd name="connsiteX2" fmla="*/ 2799638 w 2799638"/>
              <a:gd name="connsiteY2" fmla="*/ 0 h 2947737"/>
              <a:gd name="connsiteX3" fmla="*/ 0 w 2799638"/>
              <a:gd name="connsiteY3" fmla="*/ 1845863 h 2947737"/>
              <a:gd name="connsiteX0" fmla="*/ 0 w 2826933"/>
              <a:gd name="connsiteY0" fmla="*/ 1886806 h 2947737"/>
              <a:gd name="connsiteX1" fmla="*/ 528901 w 2826933"/>
              <a:gd name="connsiteY1" fmla="*/ 2947737 h 2947737"/>
              <a:gd name="connsiteX2" fmla="*/ 2826933 w 2826933"/>
              <a:gd name="connsiteY2" fmla="*/ 0 h 2947737"/>
              <a:gd name="connsiteX3" fmla="*/ 0 w 2826933"/>
              <a:gd name="connsiteY3" fmla="*/ 1886806 h 2947737"/>
              <a:gd name="connsiteX0" fmla="*/ 0 w 2826933"/>
              <a:gd name="connsiteY0" fmla="*/ 1859510 h 2947737"/>
              <a:gd name="connsiteX1" fmla="*/ 528901 w 2826933"/>
              <a:gd name="connsiteY1" fmla="*/ 2947737 h 2947737"/>
              <a:gd name="connsiteX2" fmla="*/ 2826933 w 2826933"/>
              <a:gd name="connsiteY2" fmla="*/ 0 h 2947737"/>
              <a:gd name="connsiteX3" fmla="*/ 0 w 2826933"/>
              <a:gd name="connsiteY3" fmla="*/ 1859510 h 2947737"/>
              <a:gd name="connsiteX0" fmla="*/ 0 w 2826933"/>
              <a:gd name="connsiteY0" fmla="*/ 1859510 h 2947737"/>
              <a:gd name="connsiteX1" fmla="*/ 523291 w 2826933"/>
              <a:gd name="connsiteY1" fmla="*/ 2947737 h 2947737"/>
              <a:gd name="connsiteX2" fmla="*/ 2826933 w 2826933"/>
              <a:gd name="connsiteY2" fmla="*/ 0 h 2947737"/>
              <a:gd name="connsiteX3" fmla="*/ 0 w 2826933"/>
              <a:gd name="connsiteY3" fmla="*/ 1859510 h 2947737"/>
              <a:gd name="connsiteX0" fmla="*/ 0 w 2834884"/>
              <a:gd name="connsiteY0" fmla="*/ 1867462 h 2947737"/>
              <a:gd name="connsiteX1" fmla="*/ 531242 w 2834884"/>
              <a:gd name="connsiteY1" fmla="*/ 2947737 h 2947737"/>
              <a:gd name="connsiteX2" fmla="*/ 2834884 w 2834884"/>
              <a:gd name="connsiteY2" fmla="*/ 0 h 2947737"/>
              <a:gd name="connsiteX3" fmla="*/ 0 w 2834884"/>
              <a:gd name="connsiteY3" fmla="*/ 1867462 h 2947737"/>
            </a:gdLst>
            <a:ahLst/>
            <a:cxnLst>
              <a:cxn ang="0">
                <a:pos x="connsiteX0" y="connsiteY0"/>
              </a:cxn>
              <a:cxn ang="0">
                <a:pos x="connsiteX1" y="connsiteY1"/>
              </a:cxn>
              <a:cxn ang="0">
                <a:pos x="connsiteX2" y="connsiteY2"/>
              </a:cxn>
              <a:cxn ang="0">
                <a:pos x="connsiteX3" y="connsiteY3"/>
              </a:cxn>
            </a:cxnLst>
            <a:rect l="l" t="t" r="r" b="b"/>
            <a:pathLst>
              <a:path w="2834884" h="2947737">
                <a:moveTo>
                  <a:pt x="0" y="1867462"/>
                </a:moveTo>
                <a:lnTo>
                  <a:pt x="531242" y="2947737"/>
                </a:lnTo>
                <a:lnTo>
                  <a:pt x="2834884" y="0"/>
                </a:lnTo>
                <a:lnTo>
                  <a:pt x="0" y="1867462"/>
                </a:lnTo>
                <a:close/>
              </a:path>
            </a:pathLst>
          </a:custGeom>
          <a:gradFill>
            <a:gsLst>
              <a:gs pos="15000">
                <a:schemeClr val="accent2"/>
              </a:gs>
              <a:gs pos="97000">
                <a:schemeClr val="accent1"/>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userDrawn="1">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85693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Option 2">
    <p:spTree>
      <p:nvGrpSpPr>
        <p:cNvPr id="1" name=""/>
        <p:cNvGrpSpPr/>
        <p:nvPr/>
      </p:nvGrpSpPr>
      <p:grpSpPr>
        <a:xfrm>
          <a:off x="0" y="0"/>
          <a:ext cx="0" cy="0"/>
          <a:chOff x="0" y="0"/>
          <a:chExt cx="0" cy="0"/>
        </a:xfrm>
      </p:grpSpPr>
      <p:sp>
        <p:nvSpPr>
          <p:cNvPr id="41" name="Rectangle 40"/>
          <p:cNvSpPr/>
          <p:nvPr userDrawn="1"/>
        </p:nvSpPr>
        <p:spPr>
          <a:xfrm>
            <a:off x="0" y="0"/>
            <a:ext cx="1218895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grpSp>
        <p:nvGrpSpPr>
          <p:cNvPr id="3" name="Group 2"/>
          <p:cNvGrpSpPr/>
          <p:nvPr userDrawn="1"/>
        </p:nvGrpSpPr>
        <p:grpSpPr>
          <a:xfrm>
            <a:off x="-9845" y="-7221"/>
            <a:ext cx="12210731" cy="6884165"/>
            <a:chOff x="-9845" y="-7221"/>
            <a:chExt cx="12210731" cy="6884165"/>
          </a:xfrm>
        </p:grpSpPr>
        <p:sp>
          <p:nvSpPr>
            <p:cNvPr id="6" name="Freeform 5"/>
            <p:cNvSpPr/>
            <p:nvPr/>
          </p:nvSpPr>
          <p:spPr>
            <a:xfrm>
              <a:off x="-6314" y="3602940"/>
              <a:ext cx="3593122" cy="3267566"/>
            </a:xfrm>
            <a:custGeom>
              <a:avLst/>
              <a:gdLst>
                <a:gd name="connsiteX0" fmla="*/ 1392248 w 3580909"/>
                <a:gd name="connsiteY0" fmla="*/ 0 h 3209249"/>
                <a:gd name="connsiteX1" fmla="*/ 0 w 3580909"/>
                <a:gd name="connsiteY1" fmla="*/ 3209249 h 3209249"/>
                <a:gd name="connsiteX2" fmla="*/ 3580909 w 3580909"/>
                <a:gd name="connsiteY2" fmla="*/ 1215267 h 3209249"/>
                <a:gd name="connsiteX3" fmla="*/ 1392248 w 3580909"/>
                <a:gd name="connsiteY3" fmla="*/ 0 h 3209249"/>
                <a:gd name="connsiteX0" fmla="*/ 1406371 w 3595032"/>
                <a:gd name="connsiteY0" fmla="*/ 0 h 3209249"/>
                <a:gd name="connsiteX1" fmla="*/ 0 w 3595032"/>
                <a:gd name="connsiteY1" fmla="*/ 3209249 h 3209249"/>
                <a:gd name="connsiteX2" fmla="*/ 3595032 w 3595032"/>
                <a:gd name="connsiteY2" fmla="*/ 1215267 h 3209249"/>
                <a:gd name="connsiteX3" fmla="*/ 1406371 w 3595032"/>
                <a:gd name="connsiteY3" fmla="*/ 0 h 3209249"/>
                <a:gd name="connsiteX0" fmla="*/ 1399310 w 3587971"/>
                <a:gd name="connsiteY0" fmla="*/ 0 h 3209249"/>
                <a:gd name="connsiteX1" fmla="*/ 0 w 3587971"/>
                <a:gd name="connsiteY1" fmla="*/ 3209249 h 3209249"/>
                <a:gd name="connsiteX2" fmla="*/ 3587971 w 3587971"/>
                <a:gd name="connsiteY2" fmla="*/ 1215267 h 3209249"/>
                <a:gd name="connsiteX3" fmla="*/ 1399310 w 3587971"/>
                <a:gd name="connsiteY3" fmla="*/ 0 h 3209249"/>
                <a:gd name="connsiteX0" fmla="*/ 1399310 w 3587971"/>
                <a:gd name="connsiteY0" fmla="*/ 0 h 3252111"/>
                <a:gd name="connsiteX1" fmla="*/ 0 w 3587971"/>
                <a:gd name="connsiteY1" fmla="*/ 3252111 h 3252111"/>
                <a:gd name="connsiteX2" fmla="*/ 3587971 w 3587971"/>
                <a:gd name="connsiteY2" fmla="*/ 1258129 h 3252111"/>
                <a:gd name="connsiteX3" fmla="*/ 1399310 w 3587971"/>
                <a:gd name="connsiteY3" fmla="*/ 0 h 3252111"/>
                <a:gd name="connsiteX0" fmla="*/ 1396734 w 3585395"/>
                <a:gd name="connsiteY0" fmla="*/ 0 h 3264990"/>
                <a:gd name="connsiteX1" fmla="*/ 0 w 3585395"/>
                <a:gd name="connsiteY1" fmla="*/ 3264990 h 3264990"/>
                <a:gd name="connsiteX2" fmla="*/ 3585395 w 3585395"/>
                <a:gd name="connsiteY2" fmla="*/ 1258129 h 3264990"/>
                <a:gd name="connsiteX3" fmla="*/ 1396734 w 3585395"/>
                <a:gd name="connsiteY3" fmla="*/ 0 h 3264990"/>
                <a:gd name="connsiteX0" fmla="*/ 1404461 w 3593122"/>
                <a:gd name="connsiteY0" fmla="*/ 0 h 3267566"/>
                <a:gd name="connsiteX1" fmla="*/ 0 w 3593122"/>
                <a:gd name="connsiteY1" fmla="*/ 3267566 h 3267566"/>
                <a:gd name="connsiteX2" fmla="*/ 3593122 w 3593122"/>
                <a:gd name="connsiteY2" fmla="*/ 1258129 h 3267566"/>
                <a:gd name="connsiteX3" fmla="*/ 1404461 w 3593122"/>
                <a:gd name="connsiteY3" fmla="*/ 0 h 3267566"/>
              </a:gdLst>
              <a:ahLst/>
              <a:cxnLst>
                <a:cxn ang="0">
                  <a:pos x="connsiteX0" y="connsiteY0"/>
                </a:cxn>
                <a:cxn ang="0">
                  <a:pos x="connsiteX1" y="connsiteY1"/>
                </a:cxn>
                <a:cxn ang="0">
                  <a:pos x="connsiteX2" y="connsiteY2"/>
                </a:cxn>
                <a:cxn ang="0">
                  <a:pos x="connsiteX3" y="connsiteY3"/>
                </a:cxn>
              </a:cxnLst>
              <a:rect l="l" t="t" r="r" b="b"/>
              <a:pathLst>
                <a:path w="3593122" h="3267566">
                  <a:moveTo>
                    <a:pt x="1404461" y="0"/>
                  </a:moveTo>
                  <a:lnTo>
                    <a:pt x="0" y="3267566"/>
                  </a:lnTo>
                  <a:lnTo>
                    <a:pt x="3593122" y="1258129"/>
                  </a:lnTo>
                  <a:lnTo>
                    <a:pt x="1404461" y="0"/>
                  </a:lnTo>
                  <a:close/>
                </a:path>
              </a:pathLst>
            </a:custGeom>
            <a:gradFill>
              <a:gsLst>
                <a:gs pos="100000">
                  <a:schemeClr val="accent3"/>
                </a:gs>
                <a:gs pos="44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7" name="Freeform 6"/>
            <p:cNvSpPr/>
            <p:nvPr/>
          </p:nvSpPr>
          <p:spPr>
            <a:xfrm>
              <a:off x="1390330" y="1741468"/>
              <a:ext cx="2199979" cy="3164694"/>
            </a:xfrm>
            <a:custGeom>
              <a:avLst/>
              <a:gdLst>
                <a:gd name="connsiteX0" fmla="*/ 1739462 w 2186152"/>
                <a:gd name="connsiteY0" fmla="*/ 0 h 3095296"/>
                <a:gd name="connsiteX1" fmla="*/ 0 w 2186152"/>
                <a:gd name="connsiteY1" fmla="*/ 1891862 h 3095296"/>
                <a:gd name="connsiteX2" fmla="*/ 2186152 w 2186152"/>
                <a:gd name="connsiteY2" fmla="*/ 3095296 h 3095296"/>
                <a:gd name="connsiteX3" fmla="*/ 1739462 w 2186152"/>
                <a:gd name="connsiteY3" fmla="*/ 0 h 3095296"/>
                <a:gd name="connsiteX0" fmla="*/ 1733563 w 2186152"/>
                <a:gd name="connsiteY0" fmla="*/ 0 h 3112994"/>
                <a:gd name="connsiteX1" fmla="*/ 0 w 2186152"/>
                <a:gd name="connsiteY1" fmla="*/ 1909560 h 3112994"/>
                <a:gd name="connsiteX2" fmla="*/ 2186152 w 2186152"/>
                <a:gd name="connsiteY2" fmla="*/ 3112994 h 3112994"/>
                <a:gd name="connsiteX3" fmla="*/ 1733563 w 2186152"/>
                <a:gd name="connsiteY3" fmla="*/ 0 h 3112994"/>
                <a:gd name="connsiteX0" fmla="*/ 1752613 w 2186152"/>
                <a:gd name="connsiteY0" fmla="*/ 0 h 3108232"/>
                <a:gd name="connsiteX1" fmla="*/ 0 w 2186152"/>
                <a:gd name="connsiteY1" fmla="*/ 1904798 h 3108232"/>
                <a:gd name="connsiteX2" fmla="*/ 2186152 w 2186152"/>
                <a:gd name="connsiteY2" fmla="*/ 3108232 h 3108232"/>
                <a:gd name="connsiteX3" fmla="*/ 1752613 w 2186152"/>
                <a:gd name="connsiteY3" fmla="*/ 0 h 3108232"/>
                <a:gd name="connsiteX0" fmla="*/ 1738326 w 2186152"/>
                <a:gd name="connsiteY0" fmla="*/ 0 h 3108232"/>
                <a:gd name="connsiteX1" fmla="*/ 0 w 2186152"/>
                <a:gd name="connsiteY1" fmla="*/ 1904798 h 3108232"/>
                <a:gd name="connsiteX2" fmla="*/ 2186152 w 2186152"/>
                <a:gd name="connsiteY2" fmla="*/ 3108232 h 3108232"/>
                <a:gd name="connsiteX3" fmla="*/ 1738326 w 2186152"/>
                <a:gd name="connsiteY3" fmla="*/ 0 h 3108232"/>
                <a:gd name="connsiteX0" fmla="*/ 1724039 w 2186152"/>
                <a:gd name="connsiteY0" fmla="*/ 0 h 3089182"/>
                <a:gd name="connsiteX1" fmla="*/ 0 w 2186152"/>
                <a:gd name="connsiteY1" fmla="*/ 1885748 h 3089182"/>
                <a:gd name="connsiteX2" fmla="*/ 2186152 w 2186152"/>
                <a:gd name="connsiteY2" fmla="*/ 3089182 h 3089182"/>
                <a:gd name="connsiteX3" fmla="*/ 1724039 w 2186152"/>
                <a:gd name="connsiteY3" fmla="*/ 0 h 3089182"/>
                <a:gd name="connsiteX0" fmla="*/ 1743089 w 2205202"/>
                <a:gd name="connsiteY0" fmla="*/ 0 h 3089182"/>
                <a:gd name="connsiteX1" fmla="*/ 0 w 2205202"/>
                <a:gd name="connsiteY1" fmla="*/ 1861935 h 3089182"/>
                <a:gd name="connsiteX2" fmla="*/ 2205202 w 2205202"/>
                <a:gd name="connsiteY2" fmla="*/ 3089182 h 3089182"/>
                <a:gd name="connsiteX3" fmla="*/ 1743089 w 2205202"/>
                <a:gd name="connsiteY3" fmla="*/ 0 h 3089182"/>
                <a:gd name="connsiteX0" fmla="*/ 1733564 w 2205202"/>
                <a:gd name="connsiteY0" fmla="*/ 0 h 3079657"/>
                <a:gd name="connsiteX1" fmla="*/ 0 w 2205202"/>
                <a:gd name="connsiteY1" fmla="*/ 1852410 h 3079657"/>
                <a:gd name="connsiteX2" fmla="*/ 2205202 w 2205202"/>
                <a:gd name="connsiteY2" fmla="*/ 3079657 h 3079657"/>
                <a:gd name="connsiteX3" fmla="*/ 1733564 w 2205202"/>
                <a:gd name="connsiteY3" fmla="*/ 0 h 3079657"/>
                <a:gd name="connsiteX0" fmla="*/ 1695464 w 2167102"/>
                <a:gd name="connsiteY0" fmla="*/ 0 h 3079657"/>
                <a:gd name="connsiteX1" fmla="*/ 0 w 2167102"/>
                <a:gd name="connsiteY1" fmla="*/ 1871460 h 3079657"/>
                <a:gd name="connsiteX2" fmla="*/ 2167102 w 2167102"/>
                <a:gd name="connsiteY2" fmla="*/ 3079657 h 3079657"/>
                <a:gd name="connsiteX3" fmla="*/ 1695464 w 2167102"/>
                <a:gd name="connsiteY3" fmla="*/ 0 h 3079657"/>
                <a:gd name="connsiteX0" fmla="*/ 1724039 w 2195677"/>
                <a:gd name="connsiteY0" fmla="*/ 0 h 3079657"/>
                <a:gd name="connsiteX1" fmla="*/ 0 w 2195677"/>
                <a:gd name="connsiteY1" fmla="*/ 1866698 h 3079657"/>
                <a:gd name="connsiteX2" fmla="*/ 2195677 w 2195677"/>
                <a:gd name="connsiteY2" fmla="*/ 3079657 h 3079657"/>
                <a:gd name="connsiteX3" fmla="*/ 1724039 w 2195677"/>
                <a:gd name="connsiteY3" fmla="*/ 0 h 3079657"/>
                <a:gd name="connsiteX0" fmla="*/ 1746073 w 2195677"/>
                <a:gd name="connsiteY0" fmla="*/ 0 h 3079657"/>
                <a:gd name="connsiteX1" fmla="*/ 0 w 2195677"/>
                <a:gd name="connsiteY1" fmla="*/ 1866698 h 3079657"/>
                <a:gd name="connsiteX2" fmla="*/ 2195677 w 2195677"/>
                <a:gd name="connsiteY2" fmla="*/ 3079657 h 3079657"/>
                <a:gd name="connsiteX3" fmla="*/ 1746073 w 2195677"/>
                <a:gd name="connsiteY3" fmla="*/ 0 h 3079657"/>
                <a:gd name="connsiteX0" fmla="*/ 1714323 w 2195677"/>
                <a:gd name="connsiteY0" fmla="*/ 0 h 3098707"/>
                <a:gd name="connsiteX1" fmla="*/ 0 w 2195677"/>
                <a:gd name="connsiteY1" fmla="*/ 1885748 h 3098707"/>
                <a:gd name="connsiteX2" fmla="*/ 2195677 w 2195677"/>
                <a:gd name="connsiteY2" fmla="*/ 3098707 h 3098707"/>
                <a:gd name="connsiteX3" fmla="*/ 1714323 w 2195677"/>
                <a:gd name="connsiteY3" fmla="*/ 0 h 3098707"/>
                <a:gd name="connsiteX0" fmla="*/ 1720673 w 2195677"/>
                <a:gd name="connsiteY0" fmla="*/ 0 h 3092357"/>
                <a:gd name="connsiteX1" fmla="*/ 0 w 2195677"/>
                <a:gd name="connsiteY1" fmla="*/ 1879398 h 3092357"/>
                <a:gd name="connsiteX2" fmla="*/ 2195677 w 2195677"/>
                <a:gd name="connsiteY2" fmla="*/ 3092357 h 3092357"/>
                <a:gd name="connsiteX3" fmla="*/ 1720673 w 2195677"/>
                <a:gd name="connsiteY3" fmla="*/ 0 h 3092357"/>
                <a:gd name="connsiteX0" fmla="*/ 1739723 w 2195677"/>
                <a:gd name="connsiteY0" fmla="*/ 0 h 3086007"/>
                <a:gd name="connsiteX1" fmla="*/ 0 w 2195677"/>
                <a:gd name="connsiteY1" fmla="*/ 1873048 h 3086007"/>
                <a:gd name="connsiteX2" fmla="*/ 2195677 w 2195677"/>
                <a:gd name="connsiteY2" fmla="*/ 3086007 h 3086007"/>
                <a:gd name="connsiteX3" fmla="*/ 1739723 w 2195677"/>
                <a:gd name="connsiteY3" fmla="*/ 0 h 3086007"/>
                <a:gd name="connsiteX0" fmla="*/ 1720673 w 2195677"/>
                <a:gd name="connsiteY0" fmla="*/ 0 h 3155857"/>
                <a:gd name="connsiteX1" fmla="*/ 0 w 2195677"/>
                <a:gd name="connsiteY1" fmla="*/ 1942898 h 3155857"/>
                <a:gd name="connsiteX2" fmla="*/ 2195677 w 2195677"/>
                <a:gd name="connsiteY2" fmla="*/ 3155857 h 3155857"/>
                <a:gd name="connsiteX3" fmla="*/ 1720673 w 2195677"/>
                <a:gd name="connsiteY3" fmla="*/ 0 h 3155857"/>
                <a:gd name="connsiteX0" fmla="*/ 1720673 w 2195677"/>
                <a:gd name="connsiteY0" fmla="*/ 0 h 3079657"/>
                <a:gd name="connsiteX1" fmla="*/ 0 w 2195677"/>
                <a:gd name="connsiteY1" fmla="*/ 1866698 h 3079657"/>
                <a:gd name="connsiteX2" fmla="*/ 2195677 w 2195677"/>
                <a:gd name="connsiteY2" fmla="*/ 3079657 h 3079657"/>
                <a:gd name="connsiteX3" fmla="*/ 1720673 w 2195677"/>
                <a:gd name="connsiteY3" fmla="*/ 0 h 3079657"/>
                <a:gd name="connsiteX0" fmla="*/ 1720673 w 2195677"/>
                <a:gd name="connsiteY0" fmla="*/ 0 h 3149507"/>
                <a:gd name="connsiteX1" fmla="*/ 0 w 2195677"/>
                <a:gd name="connsiteY1" fmla="*/ 1936548 h 3149507"/>
                <a:gd name="connsiteX2" fmla="*/ 2195677 w 2195677"/>
                <a:gd name="connsiteY2" fmla="*/ 3149507 h 3149507"/>
                <a:gd name="connsiteX3" fmla="*/ 1720673 w 219567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24975 w 2199979"/>
                <a:gd name="connsiteY0" fmla="*/ 0 h 3149507"/>
                <a:gd name="connsiteX1" fmla="*/ 0 w 2199979"/>
                <a:gd name="connsiteY1" fmla="*/ 1921800 h 3149507"/>
                <a:gd name="connsiteX2" fmla="*/ 2199979 w 2199979"/>
                <a:gd name="connsiteY2" fmla="*/ 3149507 h 3149507"/>
                <a:gd name="connsiteX3" fmla="*/ 1724975 w 2199979"/>
                <a:gd name="connsiteY3" fmla="*/ 0 h 3149507"/>
                <a:gd name="connsiteX0" fmla="*/ 1722399 w 2199979"/>
                <a:gd name="connsiteY0" fmla="*/ 0 h 3072234"/>
                <a:gd name="connsiteX1" fmla="*/ 0 w 2199979"/>
                <a:gd name="connsiteY1" fmla="*/ 1844527 h 3072234"/>
                <a:gd name="connsiteX2" fmla="*/ 2199979 w 2199979"/>
                <a:gd name="connsiteY2" fmla="*/ 3072234 h 3072234"/>
                <a:gd name="connsiteX3" fmla="*/ 1722399 w 2199979"/>
                <a:gd name="connsiteY3" fmla="*/ 0 h 3072234"/>
                <a:gd name="connsiteX0" fmla="*/ 1722399 w 2199979"/>
                <a:gd name="connsiteY0" fmla="*/ 0 h 3123750"/>
                <a:gd name="connsiteX1" fmla="*/ 0 w 2199979"/>
                <a:gd name="connsiteY1" fmla="*/ 1896043 h 3123750"/>
                <a:gd name="connsiteX2" fmla="*/ 2199979 w 2199979"/>
                <a:gd name="connsiteY2" fmla="*/ 3123750 h 3123750"/>
                <a:gd name="connsiteX3" fmla="*/ 1722399 w 2199979"/>
                <a:gd name="connsiteY3" fmla="*/ 0 h 3123750"/>
                <a:gd name="connsiteX0" fmla="*/ 1736047 w 2199979"/>
                <a:gd name="connsiteY0" fmla="*/ 0 h 3164694"/>
                <a:gd name="connsiteX1" fmla="*/ 0 w 2199979"/>
                <a:gd name="connsiteY1" fmla="*/ 1936987 h 3164694"/>
                <a:gd name="connsiteX2" fmla="*/ 2199979 w 2199979"/>
                <a:gd name="connsiteY2" fmla="*/ 3164694 h 3164694"/>
                <a:gd name="connsiteX3" fmla="*/ 1736047 w 2199979"/>
                <a:gd name="connsiteY3" fmla="*/ 0 h 3164694"/>
              </a:gdLst>
              <a:ahLst/>
              <a:cxnLst>
                <a:cxn ang="0">
                  <a:pos x="connsiteX0" y="connsiteY0"/>
                </a:cxn>
                <a:cxn ang="0">
                  <a:pos x="connsiteX1" y="connsiteY1"/>
                </a:cxn>
                <a:cxn ang="0">
                  <a:pos x="connsiteX2" y="connsiteY2"/>
                </a:cxn>
                <a:cxn ang="0">
                  <a:pos x="connsiteX3" y="connsiteY3"/>
                </a:cxn>
              </a:cxnLst>
              <a:rect l="l" t="t" r="r" b="b"/>
              <a:pathLst>
                <a:path w="2199979" h="3164694">
                  <a:moveTo>
                    <a:pt x="1736047" y="0"/>
                  </a:moveTo>
                  <a:lnTo>
                    <a:pt x="0" y="1936987"/>
                  </a:lnTo>
                  <a:lnTo>
                    <a:pt x="2199979" y="3164694"/>
                  </a:lnTo>
                  <a:lnTo>
                    <a:pt x="1736047" y="0"/>
                  </a:lnTo>
                  <a:close/>
                </a:path>
              </a:pathLst>
            </a:custGeom>
            <a:gradFill>
              <a:gsLst>
                <a:gs pos="100000">
                  <a:schemeClr val="accent3"/>
                </a:gs>
                <a:gs pos="44000">
                  <a:schemeClr val="accent2"/>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8" name="Freeform 7"/>
            <p:cNvSpPr/>
            <p:nvPr/>
          </p:nvSpPr>
          <p:spPr>
            <a:xfrm>
              <a:off x="6375805" y="1"/>
              <a:ext cx="4644129" cy="1222744"/>
            </a:xfrm>
            <a:custGeom>
              <a:avLst/>
              <a:gdLst>
                <a:gd name="connsiteX0" fmla="*/ 0 w 4550735"/>
                <a:gd name="connsiteY0" fmla="*/ 0 h 1222745"/>
                <a:gd name="connsiteX1" fmla="*/ 1222744 w 4550735"/>
                <a:gd name="connsiteY1" fmla="*/ 1222745 h 1222745"/>
                <a:gd name="connsiteX2" fmla="*/ 4550735 w 4550735"/>
                <a:gd name="connsiteY2" fmla="*/ 10633 h 1222745"/>
                <a:gd name="connsiteX3" fmla="*/ 0 w 4550735"/>
                <a:gd name="connsiteY3" fmla="*/ 0 h 1222745"/>
                <a:gd name="connsiteX0" fmla="*/ 0 w 4582633"/>
                <a:gd name="connsiteY0" fmla="*/ 10633 h 1212112"/>
                <a:gd name="connsiteX1" fmla="*/ 1254642 w 4582633"/>
                <a:gd name="connsiteY1" fmla="*/ 1212112 h 1212112"/>
                <a:gd name="connsiteX2" fmla="*/ 4582633 w 4582633"/>
                <a:gd name="connsiteY2" fmla="*/ 0 h 1212112"/>
                <a:gd name="connsiteX3" fmla="*/ 0 w 4582633"/>
                <a:gd name="connsiteY3" fmla="*/ 10633 h 1212112"/>
                <a:gd name="connsiteX0" fmla="*/ 0 w 4566685"/>
                <a:gd name="connsiteY0" fmla="*/ 0 h 1228061"/>
                <a:gd name="connsiteX1" fmla="*/ 1238694 w 4566685"/>
                <a:gd name="connsiteY1" fmla="*/ 1228061 h 1228061"/>
                <a:gd name="connsiteX2" fmla="*/ 4566685 w 4566685"/>
                <a:gd name="connsiteY2" fmla="*/ 15949 h 1228061"/>
                <a:gd name="connsiteX3" fmla="*/ 0 w 4566685"/>
                <a:gd name="connsiteY3" fmla="*/ 0 h 1228061"/>
                <a:gd name="connsiteX0" fmla="*/ 0 w 4566685"/>
                <a:gd name="connsiteY0" fmla="*/ 0 h 1217428"/>
                <a:gd name="connsiteX1" fmla="*/ 1238694 w 4566685"/>
                <a:gd name="connsiteY1" fmla="*/ 1217428 h 1217428"/>
                <a:gd name="connsiteX2" fmla="*/ 4566685 w 4566685"/>
                <a:gd name="connsiteY2" fmla="*/ 5316 h 1217428"/>
                <a:gd name="connsiteX3" fmla="*/ 0 w 4566685"/>
                <a:gd name="connsiteY3" fmla="*/ 0 h 1217428"/>
                <a:gd name="connsiteX0" fmla="*/ 0 w 4614532"/>
                <a:gd name="connsiteY0" fmla="*/ 0 h 1217428"/>
                <a:gd name="connsiteX1" fmla="*/ 1238694 w 4614532"/>
                <a:gd name="connsiteY1" fmla="*/ 1217428 h 1217428"/>
                <a:gd name="connsiteX2" fmla="*/ 4614532 w 4614532"/>
                <a:gd name="connsiteY2" fmla="*/ 5316 h 1217428"/>
                <a:gd name="connsiteX3" fmla="*/ 0 w 4614532"/>
                <a:gd name="connsiteY3" fmla="*/ 0 h 1217428"/>
                <a:gd name="connsiteX0" fmla="*/ 0 w 4614532"/>
                <a:gd name="connsiteY0" fmla="*/ 0 h 1228060"/>
                <a:gd name="connsiteX1" fmla="*/ 1286541 w 4614532"/>
                <a:gd name="connsiteY1" fmla="*/ 1228060 h 1228060"/>
                <a:gd name="connsiteX2" fmla="*/ 4614532 w 4614532"/>
                <a:gd name="connsiteY2" fmla="*/ 5316 h 1228060"/>
                <a:gd name="connsiteX3" fmla="*/ 0 w 4614532"/>
                <a:gd name="connsiteY3" fmla="*/ 0 h 1228060"/>
                <a:gd name="connsiteX0" fmla="*/ 0 w 4614532"/>
                <a:gd name="connsiteY0" fmla="*/ 10633 h 1222744"/>
                <a:gd name="connsiteX1" fmla="*/ 1286541 w 4614532"/>
                <a:gd name="connsiteY1" fmla="*/ 1222744 h 1222744"/>
                <a:gd name="connsiteX2" fmla="*/ 4614532 w 4614532"/>
                <a:gd name="connsiteY2" fmla="*/ 0 h 1222744"/>
                <a:gd name="connsiteX3" fmla="*/ 0 w 4614532"/>
                <a:gd name="connsiteY3" fmla="*/ 10633 h 1222744"/>
                <a:gd name="connsiteX0" fmla="*/ 0 w 4614532"/>
                <a:gd name="connsiteY0" fmla="*/ 10633 h 1201479"/>
                <a:gd name="connsiteX1" fmla="*/ 1238695 w 4614532"/>
                <a:gd name="connsiteY1" fmla="*/ 1201479 h 1201479"/>
                <a:gd name="connsiteX2" fmla="*/ 4614532 w 4614532"/>
                <a:gd name="connsiteY2" fmla="*/ 0 h 1201479"/>
                <a:gd name="connsiteX3" fmla="*/ 0 w 4614532"/>
                <a:gd name="connsiteY3" fmla="*/ 10633 h 1201479"/>
                <a:gd name="connsiteX0" fmla="*/ 0 w 4614532"/>
                <a:gd name="connsiteY0" fmla="*/ 10633 h 1222744"/>
                <a:gd name="connsiteX1" fmla="*/ 1249328 w 4614532"/>
                <a:gd name="connsiteY1" fmla="*/ 1222744 h 1222744"/>
                <a:gd name="connsiteX2" fmla="*/ 4614532 w 4614532"/>
                <a:gd name="connsiteY2" fmla="*/ 0 h 1222744"/>
                <a:gd name="connsiteX3" fmla="*/ 0 w 4614532"/>
                <a:gd name="connsiteY3" fmla="*/ 10633 h 1222744"/>
                <a:gd name="connsiteX0" fmla="*/ 0 w 4614532"/>
                <a:gd name="connsiteY0" fmla="*/ 0 h 1222744"/>
                <a:gd name="connsiteX1" fmla="*/ 1249328 w 4614532"/>
                <a:gd name="connsiteY1" fmla="*/ 1222744 h 1222744"/>
                <a:gd name="connsiteX2" fmla="*/ 4614532 w 4614532"/>
                <a:gd name="connsiteY2" fmla="*/ 0 h 1222744"/>
                <a:gd name="connsiteX3" fmla="*/ 0 w 4614532"/>
                <a:gd name="connsiteY3" fmla="*/ 0 h 1222744"/>
                <a:gd name="connsiteX0" fmla="*/ 0 w 4630481"/>
                <a:gd name="connsiteY0" fmla="*/ 0 h 1222744"/>
                <a:gd name="connsiteX1" fmla="*/ 1249328 w 4630481"/>
                <a:gd name="connsiteY1" fmla="*/ 1222744 h 1222744"/>
                <a:gd name="connsiteX2" fmla="*/ 4630481 w 4630481"/>
                <a:gd name="connsiteY2" fmla="*/ 0 h 1222744"/>
                <a:gd name="connsiteX3" fmla="*/ 0 w 4630481"/>
                <a:gd name="connsiteY3" fmla="*/ 0 h 1222744"/>
                <a:gd name="connsiteX0" fmla="*/ 0 w 4671425"/>
                <a:gd name="connsiteY0" fmla="*/ 0 h 1222744"/>
                <a:gd name="connsiteX1" fmla="*/ 1290272 w 4671425"/>
                <a:gd name="connsiteY1" fmla="*/ 1222744 h 1222744"/>
                <a:gd name="connsiteX2" fmla="*/ 4671425 w 4671425"/>
                <a:gd name="connsiteY2" fmla="*/ 0 h 1222744"/>
                <a:gd name="connsiteX3" fmla="*/ 0 w 4671425"/>
                <a:gd name="connsiteY3" fmla="*/ 0 h 1222744"/>
                <a:gd name="connsiteX0" fmla="*/ 0 w 4671425"/>
                <a:gd name="connsiteY0" fmla="*/ 0 h 1222744"/>
                <a:gd name="connsiteX1" fmla="*/ 1290272 w 4671425"/>
                <a:gd name="connsiteY1" fmla="*/ 1222744 h 1222744"/>
                <a:gd name="connsiteX2" fmla="*/ 4671425 w 4671425"/>
                <a:gd name="connsiteY2" fmla="*/ 614149 h 1222744"/>
                <a:gd name="connsiteX3" fmla="*/ 0 w 4671425"/>
                <a:gd name="connsiteY3" fmla="*/ 0 h 1222744"/>
                <a:gd name="connsiteX0" fmla="*/ 0 w 4657777"/>
                <a:gd name="connsiteY0" fmla="*/ 13648 h 1236392"/>
                <a:gd name="connsiteX1" fmla="*/ 1290272 w 4657777"/>
                <a:gd name="connsiteY1" fmla="*/ 1236392 h 1236392"/>
                <a:gd name="connsiteX2" fmla="*/ 4657777 w 4657777"/>
                <a:gd name="connsiteY2" fmla="*/ 0 h 1236392"/>
                <a:gd name="connsiteX3" fmla="*/ 0 w 4657777"/>
                <a:gd name="connsiteY3" fmla="*/ 13648 h 1236392"/>
                <a:gd name="connsiteX0" fmla="*/ 0 w 4644129"/>
                <a:gd name="connsiteY0" fmla="*/ 0 h 1222744"/>
                <a:gd name="connsiteX1" fmla="*/ 1290272 w 4644129"/>
                <a:gd name="connsiteY1" fmla="*/ 1222744 h 1222744"/>
                <a:gd name="connsiteX2" fmla="*/ 4644129 w 4644129"/>
                <a:gd name="connsiteY2" fmla="*/ 0 h 1222744"/>
                <a:gd name="connsiteX3" fmla="*/ 0 w 4644129"/>
                <a:gd name="connsiteY3" fmla="*/ 0 h 1222744"/>
              </a:gdLst>
              <a:ahLst/>
              <a:cxnLst>
                <a:cxn ang="0">
                  <a:pos x="connsiteX0" y="connsiteY0"/>
                </a:cxn>
                <a:cxn ang="0">
                  <a:pos x="connsiteX1" y="connsiteY1"/>
                </a:cxn>
                <a:cxn ang="0">
                  <a:pos x="connsiteX2" y="connsiteY2"/>
                </a:cxn>
                <a:cxn ang="0">
                  <a:pos x="connsiteX3" y="connsiteY3"/>
                </a:cxn>
              </a:cxnLst>
              <a:rect l="l" t="t" r="r" b="b"/>
              <a:pathLst>
                <a:path w="4644129" h="1222744">
                  <a:moveTo>
                    <a:pt x="0" y="0"/>
                  </a:moveTo>
                  <a:lnTo>
                    <a:pt x="1290272" y="1222744"/>
                  </a:lnTo>
                  <a:lnTo>
                    <a:pt x="4644129" y="0"/>
                  </a:lnTo>
                  <a:lnTo>
                    <a:pt x="0" y="0"/>
                  </a:lnTo>
                  <a:close/>
                </a:path>
              </a:pathLst>
            </a:custGeom>
            <a:gradFill>
              <a:gsLst>
                <a:gs pos="100000">
                  <a:schemeClr val="accent3"/>
                </a:gs>
                <a:gs pos="35000">
                  <a:schemeClr val="accent2"/>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8"/>
            <p:cNvSpPr/>
            <p:nvPr/>
          </p:nvSpPr>
          <p:spPr>
            <a:xfrm>
              <a:off x="4052439" y="2989173"/>
              <a:ext cx="3708351" cy="2971471"/>
            </a:xfrm>
            <a:custGeom>
              <a:avLst/>
              <a:gdLst>
                <a:gd name="connsiteX0" fmla="*/ 2291255 w 3641834"/>
                <a:gd name="connsiteY0" fmla="*/ 0 h 2958662"/>
                <a:gd name="connsiteX1" fmla="*/ 3641834 w 3641834"/>
                <a:gd name="connsiteY1" fmla="*/ 1692165 h 2958662"/>
                <a:gd name="connsiteX2" fmla="*/ 0 w 3641834"/>
                <a:gd name="connsiteY2" fmla="*/ 2958662 h 2958662"/>
                <a:gd name="connsiteX3" fmla="*/ 2291255 w 3641834"/>
                <a:gd name="connsiteY3" fmla="*/ 0 h 2958662"/>
                <a:gd name="connsiteX0" fmla="*/ 2291255 w 3641834"/>
                <a:gd name="connsiteY0" fmla="*/ 0 h 2963917"/>
                <a:gd name="connsiteX1" fmla="*/ 3641834 w 3641834"/>
                <a:gd name="connsiteY1" fmla="*/ 1697420 h 2963917"/>
                <a:gd name="connsiteX2" fmla="*/ 0 w 3641834"/>
                <a:gd name="connsiteY2" fmla="*/ 2963917 h 2963917"/>
                <a:gd name="connsiteX3" fmla="*/ 2291255 w 3641834"/>
                <a:gd name="connsiteY3" fmla="*/ 0 h 2963917"/>
                <a:gd name="connsiteX0" fmla="*/ 2301765 w 3641834"/>
                <a:gd name="connsiteY0" fmla="*/ 0 h 2948152"/>
                <a:gd name="connsiteX1" fmla="*/ 3641834 w 3641834"/>
                <a:gd name="connsiteY1" fmla="*/ 1681655 h 2948152"/>
                <a:gd name="connsiteX2" fmla="*/ 0 w 3641834"/>
                <a:gd name="connsiteY2" fmla="*/ 2948152 h 2948152"/>
                <a:gd name="connsiteX3" fmla="*/ 2301765 w 3641834"/>
                <a:gd name="connsiteY3" fmla="*/ 0 h 2948152"/>
                <a:gd name="connsiteX0" fmla="*/ 2293452 w 3641834"/>
                <a:gd name="connsiteY0" fmla="*/ 0 h 2948152"/>
                <a:gd name="connsiteX1" fmla="*/ 3641834 w 3641834"/>
                <a:gd name="connsiteY1" fmla="*/ 1681655 h 2948152"/>
                <a:gd name="connsiteX2" fmla="*/ 0 w 3641834"/>
                <a:gd name="connsiteY2" fmla="*/ 2948152 h 2948152"/>
                <a:gd name="connsiteX3" fmla="*/ 2293452 w 3641834"/>
                <a:gd name="connsiteY3" fmla="*/ 0 h 2948152"/>
                <a:gd name="connsiteX0" fmla="*/ 2305379 w 3653761"/>
                <a:gd name="connsiteY0" fmla="*/ 0 h 2944176"/>
                <a:gd name="connsiteX1" fmla="*/ 3653761 w 3653761"/>
                <a:gd name="connsiteY1" fmla="*/ 1681655 h 2944176"/>
                <a:gd name="connsiteX2" fmla="*/ 0 w 3653761"/>
                <a:gd name="connsiteY2" fmla="*/ 2944176 h 2944176"/>
                <a:gd name="connsiteX3" fmla="*/ 2305379 w 3653761"/>
                <a:gd name="connsiteY3" fmla="*/ 0 h 2944176"/>
                <a:gd name="connsiteX0" fmla="*/ 2291731 w 3653761"/>
                <a:gd name="connsiteY0" fmla="*/ 0 h 2944176"/>
                <a:gd name="connsiteX1" fmla="*/ 3653761 w 3653761"/>
                <a:gd name="connsiteY1" fmla="*/ 1681655 h 2944176"/>
                <a:gd name="connsiteX2" fmla="*/ 0 w 3653761"/>
                <a:gd name="connsiteY2" fmla="*/ 2944176 h 2944176"/>
                <a:gd name="connsiteX3" fmla="*/ 2291731 w 3653761"/>
                <a:gd name="connsiteY3" fmla="*/ 0 h 2944176"/>
                <a:gd name="connsiteX0" fmla="*/ 2305378 w 3653761"/>
                <a:gd name="connsiteY0" fmla="*/ 0 h 2971471"/>
                <a:gd name="connsiteX1" fmla="*/ 3653761 w 3653761"/>
                <a:gd name="connsiteY1" fmla="*/ 1708950 h 2971471"/>
                <a:gd name="connsiteX2" fmla="*/ 0 w 3653761"/>
                <a:gd name="connsiteY2" fmla="*/ 2971471 h 2971471"/>
                <a:gd name="connsiteX3" fmla="*/ 2305378 w 3653761"/>
                <a:gd name="connsiteY3" fmla="*/ 0 h 2971471"/>
                <a:gd name="connsiteX0" fmla="*/ 2305378 w 3694704"/>
                <a:gd name="connsiteY0" fmla="*/ 0 h 2971471"/>
                <a:gd name="connsiteX1" fmla="*/ 3694704 w 3694704"/>
                <a:gd name="connsiteY1" fmla="*/ 1722598 h 2971471"/>
                <a:gd name="connsiteX2" fmla="*/ 0 w 3694704"/>
                <a:gd name="connsiteY2" fmla="*/ 2971471 h 2971471"/>
                <a:gd name="connsiteX3" fmla="*/ 2305378 w 3694704"/>
                <a:gd name="connsiteY3" fmla="*/ 0 h 2971471"/>
                <a:gd name="connsiteX0" fmla="*/ 2319025 w 3708351"/>
                <a:gd name="connsiteY0" fmla="*/ 0 h 2971471"/>
                <a:gd name="connsiteX1" fmla="*/ 3708351 w 3708351"/>
                <a:gd name="connsiteY1" fmla="*/ 1722598 h 2971471"/>
                <a:gd name="connsiteX2" fmla="*/ 0 w 3708351"/>
                <a:gd name="connsiteY2" fmla="*/ 2971471 h 2971471"/>
                <a:gd name="connsiteX3" fmla="*/ 2319025 w 3708351"/>
                <a:gd name="connsiteY3" fmla="*/ 0 h 2971471"/>
              </a:gdLst>
              <a:ahLst/>
              <a:cxnLst>
                <a:cxn ang="0">
                  <a:pos x="connsiteX0" y="connsiteY0"/>
                </a:cxn>
                <a:cxn ang="0">
                  <a:pos x="connsiteX1" y="connsiteY1"/>
                </a:cxn>
                <a:cxn ang="0">
                  <a:pos x="connsiteX2" y="connsiteY2"/>
                </a:cxn>
                <a:cxn ang="0">
                  <a:pos x="connsiteX3" y="connsiteY3"/>
                </a:cxn>
              </a:cxnLst>
              <a:rect l="l" t="t" r="r" b="b"/>
              <a:pathLst>
                <a:path w="3708351" h="2971471">
                  <a:moveTo>
                    <a:pt x="2319025" y="0"/>
                  </a:moveTo>
                  <a:lnTo>
                    <a:pt x="3708351" y="1722598"/>
                  </a:lnTo>
                  <a:lnTo>
                    <a:pt x="0" y="2971471"/>
                  </a:lnTo>
                  <a:lnTo>
                    <a:pt x="2319025" y="0"/>
                  </a:lnTo>
                  <a:close/>
                </a:path>
              </a:pathLst>
            </a:custGeom>
            <a:gradFill>
              <a:gsLst>
                <a:gs pos="100000">
                  <a:schemeClr val="accent3"/>
                </a:gs>
                <a:gs pos="4400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0" name="Freeform 9"/>
            <p:cNvSpPr/>
            <p:nvPr/>
          </p:nvSpPr>
          <p:spPr>
            <a:xfrm>
              <a:off x="-3085" y="0"/>
              <a:ext cx="3366670" cy="1804474"/>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346198"/>
                <a:gd name="connsiteY0" fmla="*/ 0 h 1771137"/>
                <a:gd name="connsiteX1" fmla="*/ 3346198 w 3346198"/>
                <a:gd name="connsiteY1" fmla="*/ 3282 h 1771137"/>
                <a:gd name="connsiteX2" fmla="*/ 3153403 w 3346198"/>
                <a:gd name="connsiteY2" fmla="*/ 1771137 h 1771137"/>
                <a:gd name="connsiteX3" fmla="*/ 0 w 3346198"/>
                <a:gd name="connsiteY3" fmla="*/ 0 h 1771137"/>
                <a:gd name="connsiteX0" fmla="*/ 0 w 3346198"/>
                <a:gd name="connsiteY0" fmla="*/ 0 h 1766374"/>
                <a:gd name="connsiteX1" fmla="*/ 3346198 w 3346198"/>
                <a:gd name="connsiteY1" fmla="*/ 3282 h 1766374"/>
                <a:gd name="connsiteX2" fmla="*/ 3110540 w 3346198"/>
                <a:gd name="connsiteY2" fmla="*/ 1766374 h 1766374"/>
                <a:gd name="connsiteX3" fmla="*/ 0 w 3346198"/>
                <a:gd name="connsiteY3" fmla="*/ 0 h 1766374"/>
                <a:gd name="connsiteX0" fmla="*/ 0 w 3346198"/>
                <a:gd name="connsiteY0" fmla="*/ 0 h 1780662"/>
                <a:gd name="connsiteX1" fmla="*/ 3346198 w 3346198"/>
                <a:gd name="connsiteY1" fmla="*/ 3282 h 1780662"/>
                <a:gd name="connsiteX2" fmla="*/ 3091490 w 3346198"/>
                <a:gd name="connsiteY2" fmla="*/ 1780662 h 1780662"/>
                <a:gd name="connsiteX3" fmla="*/ 0 w 3346198"/>
                <a:gd name="connsiteY3" fmla="*/ 0 h 1780662"/>
                <a:gd name="connsiteX0" fmla="*/ 0 w 3346198"/>
                <a:gd name="connsiteY0" fmla="*/ 0 h 1804474"/>
                <a:gd name="connsiteX1" fmla="*/ 3346198 w 3346198"/>
                <a:gd name="connsiteY1" fmla="*/ 3282 h 1804474"/>
                <a:gd name="connsiteX2" fmla="*/ 3115303 w 3346198"/>
                <a:gd name="connsiteY2" fmla="*/ 1804474 h 1804474"/>
                <a:gd name="connsiteX3" fmla="*/ 0 w 3346198"/>
                <a:gd name="connsiteY3" fmla="*/ 0 h 1804474"/>
                <a:gd name="connsiteX0" fmla="*/ 0 w 3346198"/>
                <a:gd name="connsiteY0" fmla="*/ 10366 h 1801192"/>
                <a:gd name="connsiteX1" fmla="*/ 3346198 w 3346198"/>
                <a:gd name="connsiteY1" fmla="*/ 0 h 1801192"/>
                <a:gd name="connsiteX2" fmla="*/ 3115303 w 3346198"/>
                <a:gd name="connsiteY2" fmla="*/ 1801192 h 1801192"/>
                <a:gd name="connsiteX3" fmla="*/ 0 w 3346198"/>
                <a:gd name="connsiteY3" fmla="*/ 10366 h 1801192"/>
                <a:gd name="connsiteX0" fmla="*/ 0 w 3366670"/>
                <a:gd name="connsiteY0" fmla="*/ 0 h 1818122"/>
                <a:gd name="connsiteX1" fmla="*/ 3366670 w 3366670"/>
                <a:gd name="connsiteY1" fmla="*/ 16930 h 1818122"/>
                <a:gd name="connsiteX2" fmla="*/ 3135775 w 3366670"/>
                <a:gd name="connsiteY2" fmla="*/ 1818122 h 1818122"/>
                <a:gd name="connsiteX3" fmla="*/ 0 w 3366670"/>
                <a:gd name="connsiteY3" fmla="*/ 0 h 1818122"/>
                <a:gd name="connsiteX0" fmla="*/ 0 w 3363258"/>
                <a:gd name="connsiteY0" fmla="*/ 0 h 1811298"/>
                <a:gd name="connsiteX1" fmla="*/ 3363258 w 3363258"/>
                <a:gd name="connsiteY1" fmla="*/ 10106 h 1811298"/>
                <a:gd name="connsiteX2" fmla="*/ 3132363 w 3363258"/>
                <a:gd name="connsiteY2" fmla="*/ 1811298 h 1811298"/>
                <a:gd name="connsiteX3" fmla="*/ 0 w 3363258"/>
                <a:gd name="connsiteY3" fmla="*/ 0 h 1811298"/>
                <a:gd name="connsiteX0" fmla="*/ 0 w 3363258"/>
                <a:gd name="connsiteY0" fmla="*/ 0 h 1807886"/>
                <a:gd name="connsiteX1" fmla="*/ 3363258 w 3363258"/>
                <a:gd name="connsiteY1" fmla="*/ 6694 h 1807886"/>
                <a:gd name="connsiteX2" fmla="*/ 3132363 w 3363258"/>
                <a:gd name="connsiteY2" fmla="*/ 1807886 h 1807886"/>
                <a:gd name="connsiteX3" fmla="*/ 0 w 3363258"/>
                <a:gd name="connsiteY3" fmla="*/ 0 h 1807886"/>
                <a:gd name="connsiteX0" fmla="*/ 0 w 3363258"/>
                <a:gd name="connsiteY0" fmla="*/ 3542 h 1801192"/>
                <a:gd name="connsiteX1" fmla="*/ 3363258 w 3363258"/>
                <a:gd name="connsiteY1" fmla="*/ 0 h 1801192"/>
                <a:gd name="connsiteX2" fmla="*/ 3132363 w 3363258"/>
                <a:gd name="connsiteY2" fmla="*/ 1801192 h 1801192"/>
                <a:gd name="connsiteX3" fmla="*/ 0 w 3363258"/>
                <a:gd name="connsiteY3" fmla="*/ 3542 h 1801192"/>
                <a:gd name="connsiteX0" fmla="*/ 0 w 3366670"/>
                <a:gd name="connsiteY0" fmla="*/ 0 h 1804474"/>
                <a:gd name="connsiteX1" fmla="*/ 3366670 w 3366670"/>
                <a:gd name="connsiteY1" fmla="*/ 3282 h 1804474"/>
                <a:gd name="connsiteX2" fmla="*/ 3135775 w 3366670"/>
                <a:gd name="connsiteY2" fmla="*/ 1804474 h 1804474"/>
                <a:gd name="connsiteX3" fmla="*/ 0 w 3366670"/>
                <a:gd name="connsiteY3" fmla="*/ 0 h 1804474"/>
              </a:gdLst>
              <a:ahLst/>
              <a:cxnLst>
                <a:cxn ang="0">
                  <a:pos x="connsiteX0" y="connsiteY0"/>
                </a:cxn>
                <a:cxn ang="0">
                  <a:pos x="connsiteX1" y="connsiteY1"/>
                </a:cxn>
                <a:cxn ang="0">
                  <a:pos x="connsiteX2" y="connsiteY2"/>
                </a:cxn>
                <a:cxn ang="0">
                  <a:pos x="connsiteX3" y="connsiteY3"/>
                </a:cxn>
              </a:cxnLst>
              <a:rect l="l" t="t" r="r" b="b"/>
              <a:pathLst>
                <a:path w="3366670" h="1804474">
                  <a:moveTo>
                    <a:pt x="0" y="0"/>
                  </a:moveTo>
                  <a:lnTo>
                    <a:pt x="3366670" y="3282"/>
                  </a:lnTo>
                  <a:lnTo>
                    <a:pt x="3135775" y="1804474"/>
                  </a:lnTo>
                  <a:lnTo>
                    <a:pt x="0" y="0"/>
                  </a:lnTo>
                  <a:close/>
                </a:path>
              </a:pathLst>
            </a:custGeom>
            <a:gradFill>
              <a:gsLst>
                <a:gs pos="100000">
                  <a:schemeClr val="accent3"/>
                </a:gs>
                <a:gs pos="39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1" name="Freeform 10"/>
            <p:cNvSpPr/>
            <p:nvPr/>
          </p:nvSpPr>
          <p:spPr>
            <a:xfrm>
              <a:off x="3111696" y="1778988"/>
              <a:ext cx="3269644" cy="3085357"/>
            </a:xfrm>
            <a:custGeom>
              <a:avLst/>
              <a:gdLst>
                <a:gd name="connsiteX0" fmla="*/ 0 w 3237186"/>
                <a:gd name="connsiteY0" fmla="*/ 0 h 3095296"/>
                <a:gd name="connsiteX1" fmla="*/ 441434 w 3237186"/>
                <a:gd name="connsiteY1" fmla="*/ 3095296 h 3095296"/>
                <a:gd name="connsiteX2" fmla="*/ 3237186 w 3237186"/>
                <a:gd name="connsiteY2" fmla="*/ 1255986 h 3095296"/>
                <a:gd name="connsiteX3" fmla="*/ 0 w 3237186"/>
                <a:gd name="connsiteY3" fmla="*/ 0 h 3095296"/>
                <a:gd name="connsiteX0" fmla="*/ 0 w 3237186"/>
                <a:gd name="connsiteY0" fmla="*/ 0 h 3109584"/>
                <a:gd name="connsiteX1" fmla="*/ 441434 w 3237186"/>
                <a:gd name="connsiteY1" fmla="*/ 3109584 h 3109584"/>
                <a:gd name="connsiteX2" fmla="*/ 3237186 w 3237186"/>
                <a:gd name="connsiteY2" fmla="*/ 1270274 h 3109584"/>
                <a:gd name="connsiteX3" fmla="*/ 0 w 3237186"/>
                <a:gd name="connsiteY3" fmla="*/ 0 h 3109584"/>
                <a:gd name="connsiteX0" fmla="*/ 0 w 3237186"/>
                <a:gd name="connsiteY0" fmla="*/ 0 h 3085764"/>
                <a:gd name="connsiteX1" fmla="*/ 441434 w 3237186"/>
                <a:gd name="connsiteY1" fmla="*/ 3085764 h 3085764"/>
                <a:gd name="connsiteX2" fmla="*/ 3237186 w 3237186"/>
                <a:gd name="connsiteY2" fmla="*/ 1246454 h 3085764"/>
                <a:gd name="connsiteX3" fmla="*/ 0 w 3237186"/>
                <a:gd name="connsiteY3" fmla="*/ 0 h 3085764"/>
                <a:gd name="connsiteX0" fmla="*/ 0 w 3255520"/>
                <a:gd name="connsiteY0" fmla="*/ 0 h 3085764"/>
                <a:gd name="connsiteX1" fmla="*/ 441434 w 3255520"/>
                <a:gd name="connsiteY1" fmla="*/ 3085764 h 3085764"/>
                <a:gd name="connsiteX2" fmla="*/ 3255520 w 3255520"/>
                <a:gd name="connsiteY2" fmla="*/ 1239108 h 3085764"/>
                <a:gd name="connsiteX3" fmla="*/ 0 w 3255520"/>
                <a:gd name="connsiteY3" fmla="*/ 0 h 3085764"/>
                <a:gd name="connsiteX0" fmla="*/ 0 w 3255520"/>
                <a:gd name="connsiteY0" fmla="*/ 0 h 3088940"/>
                <a:gd name="connsiteX1" fmla="*/ 460457 w 3255520"/>
                <a:gd name="connsiteY1" fmla="*/ 3088940 h 3088940"/>
                <a:gd name="connsiteX2" fmla="*/ 3255520 w 3255520"/>
                <a:gd name="connsiteY2" fmla="*/ 1239108 h 3088940"/>
                <a:gd name="connsiteX3" fmla="*/ 0 w 3255520"/>
                <a:gd name="connsiteY3" fmla="*/ 0 h 3088940"/>
                <a:gd name="connsiteX0" fmla="*/ 0 w 3262334"/>
                <a:gd name="connsiteY0" fmla="*/ 0 h 3088940"/>
                <a:gd name="connsiteX1" fmla="*/ 460457 w 3262334"/>
                <a:gd name="connsiteY1" fmla="*/ 3088940 h 3088940"/>
                <a:gd name="connsiteX2" fmla="*/ 3262334 w 3262334"/>
                <a:gd name="connsiteY2" fmla="*/ 1239108 h 3088940"/>
                <a:gd name="connsiteX3" fmla="*/ 0 w 3262334"/>
                <a:gd name="connsiteY3" fmla="*/ 0 h 3088940"/>
                <a:gd name="connsiteX0" fmla="*/ 0 w 3264905"/>
                <a:gd name="connsiteY0" fmla="*/ 0 h 3086363"/>
                <a:gd name="connsiteX1" fmla="*/ 463028 w 3264905"/>
                <a:gd name="connsiteY1" fmla="*/ 3086363 h 3086363"/>
                <a:gd name="connsiteX2" fmla="*/ 3264905 w 3264905"/>
                <a:gd name="connsiteY2" fmla="*/ 1236531 h 3086363"/>
                <a:gd name="connsiteX3" fmla="*/ 0 w 3264905"/>
                <a:gd name="connsiteY3" fmla="*/ 0 h 3086363"/>
              </a:gdLst>
              <a:ahLst/>
              <a:cxnLst>
                <a:cxn ang="0">
                  <a:pos x="connsiteX0" y="connsiteY0"/>
                </a:cxn>
                <a:cxn ang="0">
                  <a:pos x="connsiteX1" y="connsiteY1"/>
                </a:cxn>
                <a:cxn ang="0">
                  <a:pos x="connsiteX2" y="connsiteY2"/>
                </a:cxn>
                <a:cxn ang="0">
                  <a:pos x="connsiteX3" y="connsiteY3"/>
                </a:cxn>
              </a:cxnLst>
              <a:rect l="l" t="t" r="r" b="b"/>
              <a:pathLst>
                <a:path w="3264905" h="3086363">
                  <a:moveTo>
                    <a:pt x="0" y="0"/>
                  </a:moveTo>
                  <a:lnTo>
                    <a:pt x="463028" y="3086363"/>
                  </a:lnTo>
                  <a:lnTo>
                    <a:pt x="3264905" y="1236531"/>
                  </a:lnTo>
                  <a:lnTo>
                    <a:pt x="0"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2" name="Freeform 11"/>
            <p:cNvSpPr/>
            <p:nvPr/>
          </p:nvSpPr>
          <p:spPr>
            <a:xfrm>
              <a:off x="7713406" y="2411362"/>
              <a:ext cx="1983659" cy="4457360"/>
            </a:xfrm>
            <a:custGeom>
              <a:avLst/>
              <a:gdLst>
                <a:gd name="connsiteX0" fmla="*/ 1983659 w 1983659"/>
                <a:gd name="connsiteY0" fmla="*/ 0 h 4431891"/>
                <a:gd name="connsiteX1" fmla="*/ 1032388 w 1983659"/>
                <a:gd name="connsiteY1" fmla="*/ 4431891 h 4431891"/>
                <a:gd name="connsiteX2" fmla="*/ 0 w 1983659"/>
                <a:gd name="connsiteY2" fmla="*/ 2286000 h 4431891"/>
                <a:gd name="connsiteX3" fmla="*/ 1983659 w 1983659"/>
                <a:gd name="connsiteY3" fmla="*/ 0 h 4431891"/>
                <a:gd name="connsiteX0" fmla="*/ 1983659 w 1983659"/>
                <a:gd name="connsiteY0" fmla="*/ 0 h 4439842"/>
                <a:gd name="connsiteX1" fmla="*/ 1000583 w 1983659"/>
                <a:gd name="connsiteY1" fmla="*/ 4439842 h 4439842"/>
                <a:gd name="connsiteX2" fmla="*/ 0 w 1983659"/>
                <a:gd name="connsiteY2" fmla="*/ 2286000 h 4439842"/>
                <a:gd name="connsiteX3" fmla="*/ 1983659 w 1983659"/>
                <a:gd name="connsiteY3" fmla="*/ 0 h 4439842"/>
                <a:gd name="connsiteX0" fmla="*/ 1983659 w 1983659"/>
                <a:gd name="connsiteY0" fmla="*/ 0 h 4447794"/>
                <a:gd name="connsiteX1" fmla="*/ 1000583 w 1983659"/>
                <a:gd name="connsiteY1" fmla="*/ 4447794 h 4447794"/>
                <a:gd name="connsiteX2" fmla="*/ 0 w 1983659"/>
                <a:gd name="connsiteY2" fmla="*/ 2286000 h 4447794"/>
                <a:gd name="connsiteX3" fmla="*/ 1983659 w 1983659"/>
                <a:gd name="connsiteY3" fmla="*/ 0 h 4447794"/>
                <a:gd name="connsiteX0" fmla="*/ 1983659 w 1983659"/>
                <a:gd name="connsiteY0" fmla="*/ 0 h 4471648"/>
                <a:gd name="connsiteX1" fmla="*/ 1000583 w 1983659"/>
                <a:gd name="connsiteY1" fmla="*/ 4471648 h 4471648"/>
                <a:gd name="connsiteX2" fmla="*/ 0 w 1983659"/>
                <a:gd name="connsiteY2" fmla="*/ 2286000 h 4471648"/>
                <a:gd name="connsiteX3" fmla="*/ 1983659 w 1983659"/>
                <a:gd name="connsiteY3" fmla="*/ 0 h 4471648"/>
                <a:gd name="connsiteX0" fmla="*/ 1983659 w 1983659"/>
                <a:gd name="connsiteY0" fmla="*/ 0 h 4457360"/>
                <a:gd name="connsiteX1" fmla="*/ 995820 w 1983659"/>
                <a:gd name="connsiteY1" fmla="*/ 4457360 h 4457360"/>
                <a:gd name="connsiteX2" fmla="*/ 0 w 1983659"/>
                <a:gd name="connsiteY2" fmla="*/ 2286000 h 4457360"/>
                <a:gd name="connsiteX3" fmla="*/ 1983659 w 1983659"/>
                <a:gd name="connsiteY3" fmla="*/ 0 h 4457360"/>
                <a:gd name="connsiteX0" fmla="*/ 1983659 w 1983659"/>
                <a:gd name="connsiteY0" fmla="*/ 0 h 4457360"/>
                <a:gd name="connsiteX1" fmla="*/ 991058 w 1983659"/>
                <a:gd name="connsiteY1" fmla="*/ 4457360 h 4457360"/>
                <a:gd name="connsiteX2" fmla="*/ 0 w 1983659"/>
                <a:gd name="connsiteY2" fmla="*/ 2286000 h 4457360"/>
                <a:gd name="connsiteX3" fmla="*/ 1983659 w 1983659"/>
                <a:gd name="connsiteY3" fmla="*/ 0 h 4457360"/>
              </a:gdLst>
              <a:ahLst/>
              <a:cxnLst>
                <a:cxn ang="0">
                  <a:pos x="connsiteX0" y="connsiteY0"/>
                </a:cxn>
                <a:cxn ang="0">
                  <a:pos x="connsiteX1" y="connsiteY1"/>
                </a:cxn>
                <a:cxn ang="0">
                  <a:pos x="connsiteX2" y="connsiteY2"/>
                </a:cxn>
                <a:cxn ang="0">
                  <a:pos x="connsiteX3" y="connsiteY3"/>
                </a:cxn>
              </a:cxnLst>
              <a:rect l="l" t="t" r="r" b="b"/>
              <a:pathLst>
                <a:path w="1983659" h="4457360">
                  <a:moveTo>
                    <a:pt x="1983659" y="0"/>
                  </a:moveTo>
                  <a:lnTo>
                    <a:pt x="991058" y="4457360"/>
                  </a:lnTo>
                  <a:lnTo>
                    <a:pt x="0" y="2286000"/>
                  </a:lnTo>
                  <a:lnTo>
                    <a:pt x="1983659" y="0"/>
                  </a:lnTo>
                  <a:close/>
                </a:path>
              </a:pathLst>
            </a:custGeom>
            <a:gradFill>
              <a:gsLst>
                <a:gs pos="100000">
                  <a:schemeClr val="accent3"/>
                </a:gs>
                <a:gs pos="36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3" name="Freeform 12"/>
            <p:cNvSpPr/>
            <p:nvPr/>
          </p:nvSpPr>
          <p:spPr>
            <a:xfrm>
              <a:off x="6341757" y="1209676"/>
              <a:ext cx="3359456" cy="1822946"/>
            </a:xfrm>
            <a:custGeom>
              <a:avLst/>
              <a:gdLst>
                <a:gd name="connsiteX0" fmla="*/ 1271587 w 3305175"/>
                <a:gd name="connsiteY0" fmla="*/ 0 h 1809750"/>
                <a:gd name="connsiteX1" fmla="*/ 3305175 w 3305175"/>
                <a:gd name="connsiteY1" fmla="*/ 1233487 h 1809750"/>
                <a:gd name="connsiteX2" fmla="*/ 0 w 3305175"/>
                <a:gd name="connsiteY2" fmla="*/ 1809750 h 1809750"/>
                <a:gd name="connsiteX3" fmla="*/ 1271587 w 3305175"/>
                <a:gd name="connsiteY3" fmla="*/ 0 h 1809750"/>
                <a:gd name="connsiteX0" fmla="*/ 1281112 w 3314700"/>
                <a:gd name="connsiteY0" fmla="*/ 0 h 1828800"/>
                <a:gd name="connsiteX1" fmla="*/ 3314700 w 3314700"/>
                <a:gd name="connsiteY1" fmla="*/ 1233487 h 1828800"/>
                <a:gd name="connsiteX2" fmla="*/ 0 w 3314700"/>
                <a:gd name="connsiteY2" fmla="*/ 1828800 h 1828800"/>
                <a:gd name="connsiteX3" fmla="*/ 1281112 w 3314700"/>
                <a:gd name="connsiteY3" fmla="*/ 0 h 1828800"/>
                <a:gd name="connsiteX0" fmla="*/ 1300162 w 3333750"/>
                <a:gd name="connsiteY0" fmla="*/ 0 h 1824037"/>
                <a:gd name="connsiteX1" fmla="*/ 3333750 w 3333750"/>
                <a:gd name="connsiteY1" fmla="*/ 1233487 h 1824037"/>
                <a:gd name="connsiteX2" fmla="*/ 0 w 3333750"/>
                <a:gd name="connsiteY2" fmla="*/ 1824037 h 1824037"/>
                <a:gd name="connsiteX3" fmla="*/ 1300162 w 3333750"/>
                <a:gd name="connsiteY3" fmla="*/ 0 h 1824037"/>
                <a:gd name="connsiteX0" fmla="*/ 1314449 w 3333750"/>
                <a:gd name="connsiteY0" fmla="*/ 0 h 1381124"/>
                <a:gd name="connsiteX1" fmla="*/ 3333750 w 3333750"/>
                <a:gd name="connsiteY1" fmla="*/ 790574 h 1381124"/>
                <a:gd name="connsiteX2" fmla="*/ 0 w 3333750"/>
                <a:gd name="connsiteY2" fmla="*/ 1381124 h 1381124"/>
                <a:gd name="connsiteX3" fmla="*/ 1314449 w 3333750"/>
                <a:gd name="connsiteY3" fmla="*/ 0 h 138112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Lst>
              <a:ahLst/>
              <a:cxnLst>
                <a:cxn ang="0">
                  <a:pos x="connsiteX0" y="connsiteY0"/>
                </a:cxn>
                <a:cxn ang="0">
                  <a:pos x="connsiteX1" y="connsiteY1"/>
                </a:cxn>
                <a:cxn ang="0">
                  <a:pos x="connsiteX2" y="connsiteY2"/>
                </a:cxn>
                <a:cxn ang="0">
                  <a:pos x="connsiteX3" y="connsiteY3"/>
                </a:cxn>
              </a:cxnLst>
              <a:rect l="l" t="t" r="r" b="b"/>
              <a:pathLst>
                <a:path w="3359456" h="1822946">
                  <a:moveTo>
                    <a:pt x="1325868" y="0"/>
                  </a:moveTo>
                  <a:lnTo>
                    <a:pt x="3359456" y="1228724"/>
                  </a:lnTo>
                  <a:lnTo>
                    <a:pt x="0" y="1822946"/>
                  </a:lnTo>
                  <a:lnTo>
                    <a:pt x="1325868"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4" name="Freeform 13"/>
            <p:cNvSpPr/>
            <p:nvPr/>
          </p:nvSpPr>
          <p:spPr>
            <a:xfrm>
              <a:off x="-227" y="-2"/>
              <a:ext cx="1040749" cy="6875699"/>
            </a:xfrm>
            <a:custGeom>
              <a:avLst/>
              <a:gdLst>
                <a:gd name="connsiteX0" fmla="*/ 0 w 1076445"/>
                <a:gd name="connsiteY0" fmla="*/ 0 h 6817489"/>
                <a:gd name="connsiteX1" fmla="*/ 1076445 w 1076445"/>
                <a:gd name="connsiteY1" fmla="*/ 1805651 h 6817489"/>
                <a:gd name="connsiteX2" fmla="*/ 11574 w 1076445"/>
                <a:gd name="connsiteY2" fmla="*/ 6817489 h 6817489"/>
                <a:gd name="connsiteX3" fmla="*/ 0 w 1076445"/>
                <a:gd name="connsiteY3" fmla="*/ 0 h 6817489"/>
                <a:gd name="connsiteX0" fmla="*/ 0 w 873245"/>
                <a:gd name="connsiteY0" fmla="*/ 0 h 6817489"/>
                <a:gd name="connsiteX1" fmla="*/ 873245 w 873245"/>
                <a:gd name="connsiteY1" fmla="*/ 1764376 h 6817489"/>
                <a:gd name="connsiteX2" fmla="*/ 11574 w 873245"/>
                <a:gd name="connsiteY2" fmla="*/ 6817489 h 6817489"/>
                <a:gd name="connsiteX3" fmla="*/ 0 w 873245"/>
                <a:gd name="connsiteY3" fmla="*/ 0 h 6817489"/>
                <a:gd name="connsiteX0" fmla="*/ 0 w 1047870"/>
                <a:gd name="connsiteY0" fmla="*/ 0 h 6817489"/>
                <a:gd name="connsiteX1" fmla="*/ 1047870 w 1047870"/>
                <a:gd name="connsiteY1" fmla="*/ 1770726 h 6817489"/>
                <a:gd name="connsiteX2" fmla="*/ 11574 w 1047870"/>
                <a:gd name="connsiteY2" fmla="*/ 6817489 h 6817489"/>
                <a:gd name="connsiteX3" fmla="*/ 0 w 1047870"/>
                <a:gd name="connsiteY3" fmla="*/ 0 h 6817489"/>
                <a:gd name="connsiteX0" fmla="*/ 0 w 698013"/>
                <a:gd name="connsiteY0" fmla="*/ 0 h 6817489"/>
                <a:gd name="connsiteX1" fmla="*/ 698013 w 698013"/>
                <a:gd name="connsiteY1" fmla="*/ 2181752 h 6817489"/>
                <a:gd name="connsiteX2" fmla="*/ 11574 w 698013"/>
                <a:gd name="connsiteY2" fmla="*/ 6817489 h 6817489"/>
                <a:gd name="connsiteX3" fmla="*/ 0 w 698013"/>
                <a:gd name="connsiteY3" fmla="*/ 0 h 6817489"/>
                <a:gd name="connsiteX0" fmla="*/ 0 w 1039919"/>
                <a:gd name="connsiteY0" fmla="*/ 0 h 6817489"/>
                <a:gd name="connsiteX1" fmla="*/ 1039919 w 1039919"/>
                <a:gd name="connsiteY1" fmla="*/ 1762823 h 6817489"/>
                <a:gd name="connsiteX2" fmla="*/ 11574 w 1039919"/>
                <a:gd name="connsiteY2" fmla="*/ 6817489 h 6817489"/>
                <a:gd name="connsiteX3" fmla="*/ 0 w 1039919"/>
                <a:gd name="connsiteY3" fmla="*/ 0 h 6817489"/>
                <a:gd name="connsiteX0" fmla="*/ 0 w 823788"/>
                <a:gd name="connsiteY0" fmla="*/ 0 h 6817489"/>
                <a:gd name="connsiteX1" fmla="*/ 823788 w 823788"/>
                <a:gd name="connsiteY1" fmla="*/ 1820668 h 6817489"/>
                <a:gd name="connsiteX2" fmla="*/ 11574 w 823788"/>
                <a:gd name="connsiteY2" fmla="*/ 6817489 h 6817489"/>
                <a:gd name="connsiteX3" fmla="*/ 0 w 823788"/>
                <a:gd name="connsiteY3" fmla="*/ 0 h 6817489"/>
                <a:gd name="connsiteX0" fmla="*/ 0 w 1035762"/>
                <a:gd name="connsiteY0" fmla="*/ 0 h 6817489"/>
                <a:gd name="connsiteX1" fmla="*/ 1035762 w 1035762"/>
                <a:gd name="connsiteY1" fmla="*/ 1766955 h 6817489"/>
                <a:gd name="connsiteX2" fmla="*/ 11574 w 1035762"/>
                <a:gd name="connsiteY2" fmla="*/ 6817489 h 6817489"/>
                <a:gd name="connsiteX3" fmla="*/ 0 w 1035762"/>
                <a:gd name="connsiteY3" fmla="*/ 0 h 6817489"/>
                <a:gd name="connsiteX0" fmla="*/ 0 w 1040524"/>
                <a:gd name="connsiteY0" fmla="*/ 0 h 6817489"/>
                <a:gd name="connsiteX1" fmla="*/ 1040524 w 1040524"/>
                <a:gd name="connsiteY1" fmla="*/ 1762221 h 6817489"/>
                <a:gd name="connsiteX2" fmla="*/ 11574 w 1040524"/>
                <a:gd name="connsiteY2" fmla="*/ 6817489 h 6817489"/>
                <a:gd name="connsiteX3" fmla="*/ 0 w 1040524"/>
                <a:gd name="connsiteY3" fmla="*/ 0 h 6817489"/>
                <a:gd name="connsiteX0" fmla="*/ 225 w 1040749"/>
                <a:gd name="connsiteY0" fmla="*/ 0 h 6858541"/>
                <a:gd name="connsiteX1" fmla="*/ 1040749 w 1040749"/>
                <a:gd name="connsiteY1" fmla="*/ 1762221 h 6858541"/>
                <a:gd name="connsiteX2" fmla="*/ 0 w 1040749"/>
                <a:gd name="connsiteY2" fmla="*/ 6858541 h 6858541"/>
                <a:gd name="connsiteX3" fmla="*/ 225 w 1040749"/>
                <a:gd name="connsiteY3" fmla="*/ 0 h 6858541"/>
                <a:gd name="connsiteX0" fmla="*/ 225 w 1040749"/>
                <a:gd name="connsiteY0" fmla="*/ 0 h 6835083"/>
                <a:gd name="connsiteX1" fmla="*/ 1040749 w 1040749"/>
                <a:gd name="connsiteY1" fmla="*/ 1762221 h 6835083"/>
                <a:gd name="connsiteX2" fmla="*/ 0 w 1040749"/>
                <a:gd name="connsiteY2" fmla="*/ 6835083 h 6835083"/>
                <a:gd name="connsiteX3" fmla="*/ 225 w 1040749"/>
                <a:gd name="connsiteY3" fmla="*/ 0 h 6835083"/>
              </a:gdLst>
              <a:ahLst/>
              <a:cxnLst>
                <a:cxn ang="0">
                  <a:pos x="connsiteX0" y="connsiteY0"/>
                </a:cxn>
                <a:cxn ang="0">
                  <a:pos x="connsiteX1" y="connsiteY1"/>
                </a:cxn>
                <a:cxn ang="0">
                  <a:pos x="connsiteX2" y="connsiteY2"/>
                </a:cxn>
                <a:cxn ang="0">
                  <a:pos x="connsiteX3" y="connsiteY3"/>
                </a:cxn>
              </a:cxnLst>
              <a:rect l="l" t="t" r="r" b="b"/>
              <a:pathLst>
                <a:path w="1040749" h="6835083">
                  <a:moveTo>
                    <a:pt x="225" y="0"/>
                  </a:moveTo>
                  <a:lnTo>
                    <a:pt x="1040749" y="1762221"/>
                  </a:lnTo>
                  <a:lnTo>
                    <a:pt x="0" y="6835083"/>
                  </a:lnTo>
                  <a:lnTo>
                    <a:pt x="225" y="0"/>
                  </a:lnTo>
                  <a:close/>
                </a:path>
              </a:pathLst>
            </a:custGeom>
            <a:gradFill>
              <a:gsLst>
                <a:gs pos="96000">
                  <a:schemeClr val="accent3"/>
                </a:gs>
                <a:gs pos="18000">
                  <a:schemeClr val="accent2"/>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5" name="Freeform 14"/>
            <p:cNvSpPr/>
            <p:nvPr/>
          </p:nvSpPr>
          <p:spPr>
            <a:xfrm>
              <a:off x="3119436" y="-1"/>
              <a:ext cx="3260163" cy="3022037"/>
            </a:xfrm>
            <a:custGeom>
              <a:avLst/>
              <a:gdLst>
                <a:gd name="connsiteX0" fmla="*/ 185737 w 3228975"/>
                <a:gd name="connsiteY0" fmla="*/ 0 h 3024188"/>
                <a:gd name="connsiteX1" fmla="*/ 0 w 3228975"/>
                <a:gd name="connsiteY1" fmla="*/ 1771650 h 3024188"/>
                <a:gd name="connsiteX2" fmla="*/ 3228975 w 3228975"/>
                <a:gd name="connsiteY2" fmla="*/ 3024188 h 3024188"/>
                <a:gd name="connsiteX3" fmla="*/ 185737 w 3228975"/>
                <a:gd name="connsiteY3"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1976437 w 3228975"/>
                <a:gd name="connsiteY3" fmla="*/ 1776413 h 3024188"/>
                <a:gd name="connsiteX4" fmla="*/ 185737 w 3228975"/>
                <a:gd name="connsiteY4"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2733674 w 3228975"/>
                <a:gd name="connsiteY3" fmla="*/ 1281113 h 3024188"/>
                <a:gd name="connsiteX4" fmla="*/ 185737 w 3228975"/>
                <a:gd name="connsiteY4" fmla="*/ 0 h 3024188"/>
                <a:gd name="connsiteX0" fmla="*/ 185737 w 3181350"/>
                <a:gd name="connsiteY0" fmla="*/ 0 h 2481263"/>
                <a:gd name="connsiteX1" fmla="*/ 0 w 3181350"/>
                <a:gd name="connsiteY1" fmla="*/ 1771650 h 2481263"/>
                <a:gd name="connsiteX2" fmla="*/ 3181350 w 3181350"/>
                <a:gd name="connsiteY2" fmla="*/ 2481263 h 2481263"/>
                <a:gd name="connsiteX3" fmla="*/ 2733674 w 3181350"/>
                <a:gd name="connsiteY3" fmla="*/ 1281113 h 2481263"/>
                <a:gd name="connsiteX4" fmla="*/ 185737 w 3181350"/>
                <a:gd name="connsiteY4" fmla="*/ 0 h 24812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1113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5876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185737 w 3214688"/>
                <a:gd name="connsiteY3" fmla="*/ 0 h 3014663"/>
                <a:gd name="connsiteX0" fmla="*/ 190500 w 3219451"/>
                <a:gd name="connsiteY0" fmla="*/ 0 h 3014663"/>
                <a:gd name="connsiteX1" fmla="*/ 0 w 3219451"/>
                <a:gd name="connsiteY1" fmla="*/ 1781175 h 3014663"/>
                <a:gd name="connsiteX2" fmla="*/ 3219451 w 3219451"/>
                <a:gd name="connsiteY2" fmla="*/ 3014663 h 3014663"/>
                <a:gd name="connsiteX3" fmla="*/ 190500 w 3219451"/>
                <a:gd name="connsiteY3" fmla="*/ 0 h 3014663"/>
                <a:gd name="connsiteX0" fmla="*/ 190500 w 3219451"/>
                <a:gd name="connsiteY0" fmla="*/ 0 h 3014663"/>
                <a:gd name="connsiteX1" fmla="*/ 0 w 3219451"/>
                <a:gd name="connsiteY1" fmla="*/ 1766887 h 3014663"/>
                <a:gd name="connsiteX2" fmla="*/ 3219451 w 3219451"/>
                <a:gd name="connsiteY2" fmla="*/ 3014663 h 3014663"/>
                <a:gd name="connsiteX3" fmla="*/ 190500 w 3219451"/>
                <a:gd name="connsiteY3" fmla="*/ 0 h 3014663"/>
                <a:gd name="connsiteX0" fmla="*/ 223838 w 3252789"/>
                <a:gd name="connsiteY0" fmla="*/ 0 h 3014663"/>
                <a:gd name="connsiteX1" fmla="*/ 0 w 3252789"/>
                <a:gd name="connsiteY1" fmla="*/ 1771650 h 3014663"/>
                <a:gd name="connsiteX2" fmla="*/ 3252789 w 3252789"/>
                <a:gd name="connsiteY2" fmla="*/ 3014663 h 3014663"/>
                <a:gd name="connsiteX3" fmla="*/ 223838 w 3252789"/>
                <a:gd name="connsiteY3" fmla="*/ 0 h 3014663"/>
                <a:gd name="connsiteX0" fmla="*/ 223838 w 3252789"/>
                <a:gd name="connsiteY0" fmla="*/ 0 h 3014663"/>
                <a:gd name="connsiteX1" fmla="*/ 0 w 3252789"/>
                <a:gd name="connsiteY1" fmla="*/ 1790700 h 3014663"/>
                <a:gd name="connsiteX2" fmla="*/ 3252789 w 3252789"/>
                <a:gd name="connsiteY2" fmla="*/ 3014663 h 3014663"/>
                <a:gd name="connsiteX3" fmla="*/ 223838 w 3252789"/>
                <a:gd name="connsiteY3" fmla="*/ 0 h 3014663"/>
                <a:gd name="connsiteX0" fmla="*/ 223838 w 3252789"/>
                <a:gd name="connsiteY0" fmla="*/ 0 h 3022037"/>
                <a:gd name="connsiteX1" fmla="*/ 0 w 3252789"/>
                <a:gd name="connsiteY1" fmla="*/ 1790700 h 3022037"/>
                <a:gd name="connsiteX2" fmla="*/ 3252789 w 3252789"/>
                <a:gd name="connsiteY2" fmla="*/ 3022037 h 3022037"/>
                <a:gd name="connsiteX3" fmla="*/ 223838 w 3252789"/>
                <a:gd name="connsiteY3" fmla="*/ 0 h 3022037"/>
                <a:gd name="connsiteX0" fmla="*/ 223838 w 3260163"/>
                <a:gd name="connsiteY0" fmla="*/ 0 h 3014663"/>
                <a:gd name="connsiteX1" fmla="*/ 0 w 3260163"/>
                <a:gd name="connsiteY1" fmla="*/ 1790700 h 3014663"/>
                <a:gd name="connsiteX2" fmla="*/ 3260163 w 3260163"/>
                <a:gd name="connsiteY2" fmla="*/ 3014663 h 3014663"/>
                <a:gd name="connsiteX3" fmla="*/ 223838 w 3260163"/>
                <a:gd name="connsiteY3" fmla="*/ 0 h 3014663"/>
                <a:gd name="connsiteX0" fmla="*/ 223838 w 3260163"/>
                <a:gd name="connsiteY0" fmla="*/ 0 h 3022037"/>
                <a:gd name="connsiteX1" fmla="*/ 0 w 3260163"/>
                <a:gd name="connsiteY1" fmla="*/ 1790700 h 3022037"/>
                <a:gd name="connsiteX2" fmla="*/ 3260163 w 3260163"/>
                <a:gd name="connsiteY2" fmla="*/ 3022037 h 3022037"/>
                <a:gd name="connsiteX3" fmla="*/ 223838 w 3260163"/>
                <a:gd name="connsiteY3" fmla="*/ 0 h 3022037"/>
              </a:gdLst>
              <a:ahLst/>
              <a:cxnLst>
                <a:cxn ang="0">
                  <a:pos x="connsiteX0" y="connsiteY0"/>
                </a:cxn>
                <a:cxn ang="0">
                  <a:pos x="connsiteX1" y="connsiteY1"/>
                </a:cxn>
                <a:cxn ang="0">
                  <a:pos x="connsiteX2" y="connsiteY2"/>
                </a:cxn>
                <a:cxn ang="0">
                  <a:pos x="connsiteX3" y="connsiteY3"/>
                </a:cxn>
              </a:cxnLst>
              <a:rect l="l" t="t" r="r" b="b"/>
              <a:pathLst>
                <a:path w="3260163" h="3022037">
                  <a:moveTo>
                    <a:pt x="223838" y="0"/>
                  </a:moveTo>
                  <a:lnTo>
                    <a:pt x="0" y="1790700"/>
                  </a:lnTo>
                  <a:lnTo>
                    <a:pt x="3260163" y="3022037"/>
                  </a:lnTo>
                  <a:lnTo>
                    <a:pt x="223838" y="0"/>
                  </a:lnTo>
                  <a:close/>
                </a:path>
              </a:pathLst>
            </a:custGeom>
            <a:gradFill>
              <a:gsLst>
                <a:gs pos="100000">
                  <a:schemeClr val="accent3"/>
                </a:gs>
                <a:gs pos="6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6" name="Freeform 15"/>
            <p:cNvSpPr/>
            <p:nvPr/>
          </p:nvSpPr>
          <p:spPr>
            <a:xfrm>
              <a:off x="3343275" y="0"/>
              <a:ext cx="4337998" cy="3019426"/>
            </a:xfrm>
            <a:custGeom>
              <a:avLst/>
              <a:gdLst>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37998"/>
                <a:gd name="connsiteY0" fmla="*/ 0 h 3019426"/>
                <a:gd name="connsiteX1" fmla="*/ 4337998 w 4337998"/>
                <a:gd name="connsiteY1" fmla="*/ 1214438 h 3019426"/>
                <a:gd name="connsiteX2" fmla="*/ 3028950 w 4337998"/>
                <a:gd name="connsiteY2" fmla="*/ 3019426 h 3019426"/>
                <a:gd name="connsiteX3" fmla="*/ 0 w 4337998"/>
                <a:gd name="connsiteY3" fmla="*/ 0 h 3019426"/>
                <a:gd name="connsiteX0" fmla="*/ 0 w 4337998"/>
                <a:gd name="connsiteY0" fmla="*/ 0 h 3019426"/>
                <a:gd name="connsiteX1" fmla="*/ 4337998 w 4337998"/>
                <a:gd name="connsiteY1" fmla="*/ 1214438 h 3019426"/>
                <a:gd name="connsiteX2" fmla="*/ 3015303 w 4337998"/>
                <a:gd name="connsiteY2" fmla="*/ 3019426 h 3019426"/>
                <a:gd name="connsiteX3" fmla="*/ 0 w 4337998"/>
                <a:gd name="connsiteY3" fmla="*/ 0 h 3019426"/>
              </a:gdLst>
              <a:ahLst/>
              <a:cxnLst>
                <a:cxn ang="0">
                  <a:pos x="connsiteX0" y="connsiteY0"/>
                </a:cxn>
                <a:cxn ang="0">
                  <a:pos x="connsiteX1" y="connsiteY1"/>
                </a:cxn>
                <a:cxn ang="0">
                  <a:pos x="connsiteX2" y="connsiteY2"/>
                </a:cxn>
                <a:cxn ang="0">
                  <a:pos x="connsiteX3" y="connsiteY3"/>
                </a:cxn>
              </a:cxnLst>
              <a:rect l="l" t="t" r="r" b="b"/>
              <a:pathLst>
                <a:path w="4337998" h="3019426">
                  <a:moveTo>
                    <a:pt x="0" y="0"/>
                  </a:moveTo>
                  <a:lnTo>
                    <a:pt x="4337998" y="1214438"/>
                  </a:lnTo>
                  <a:lnTo>
                    <a:pt x="3015303" y="3019426"/>
                  </a:lnTo>
                  <a:lnTo>
                    <a:pt x="0" y="0"/>
                  </a:lnTo>
                  <a:close/>
                </a:path>
              </a:pathLst>
            </a:custGeom>
            <a:gradFill>
              <a:gsLst>
                <a:gs pos="100000">
                  <a:schemeClr val="accent3"/>
                </a:gs>
                <a:gs pos="44000">
                  <a:schemeClr val="accent2"/>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r>
                <a:rPr lang="en-US" sz="2000"/>
                <a:t>s</a:t>
              </a:r>
              <a:endParaRPr lang="en-US" sz="2000" dirty="0"/>
            </a:p>
          </p:txBody>
        </p:sp>
        <p:sp>
          <p:nvSpPr>
            <p:cNvPr id="17" name="Freeform 16"/>
            <p:cNvSpPr/>
            <p:nvPr/>
          </p:nvSpPr>
          <p:spPr>
            <a:xfrm>
              <a:off x="7667625" y="1"/>
              <a:ext cx="4533261" cy="1214438"/>
            </a:xfrm>
            <a:custGeom>
              <a:avLst/>
              <a:gdLst>
                <a:gd name="connsiteX0" fmla="*/ 3367088 w 4524375"/>
                <a:gd name="connsiteY0" fmla="*/ 0 h 1223963"/>
                <a:gd name="connsiteX1" fmla="*/ 0 w 4524375"/>
                <a:gd name="connsiteY1" fmla="*/ 1223963 h 1223963"/>
                <a:gd name="connsiteX2" fmla="*/ 4524375 w 4524375"/>
                <a:gd name="connsiteY2" fmla="*/ 1071563 h 1223963"/>
                <a:gd name="connsiteX3" fmla="*/ 3367088 w 4524375"/>
                <a:gd name="connsiteY3" fmla="*/ 0 h 1223963"/>
                <a:gd name="connsiteX0" fmla="*/ 3352800 w 4524375"/>
                <a:gd name="connsiteY0" fmla="*/ 0 h 1233489"/>
                <a:gd name="connsiteX1" fmla="*/ 0 w 4524375"/>
                <a:gd name="connsiteY1" fmla="*/ 1233489 h 1233489"/>
                <a:gd name="connsiteX2" fmla="*/ 4524375 w 4524375"/>
                <a:gd name="connsiteY2" fmla="*/ 1081089 h 1233489"/>
                <a:gd name="connsiteX3" fmla="*/ 3352800 w 4524375"/>
                <a:gd name="connsiteY3" fmla="*/ 0 h 1233489"/>
                <a:gd name="connsiteX0" fmla="*/ 3352800 w 4524375"/>
                <a:gd name="connsiteY0" fmla="*/ 0 h 1228726"/>
                <a:gd name="connsiteX1" fmla="*/ 0 w 4524375"/>
                <a:gd name="connsiteY1" fmla="*/ 1228726 h 1228726"/>
                <a:gd name="connsiteX2" fmla="*/ 4524375 w 4524375"/>
                <a:gd name="connsiteY2" fmla="*/ 1076326 h 1228726"/>
                <a:gd name="connsiteX3" fmla="*/ 3352800 w 4524375"/>
                <a:gd name="connsiteY3" fmla="*/ 0 h 1228726"/>
                <a:gd name="connsiteX0" fmla="*/ 3357563 w 4524375"/>
                <a:gd name="connsiteY0" fmla="*/ 0 h 1223963"/>
                <a:gd name="connsiteX1" fmla="*/ 0 w 4524375"/>
                <a:gd name="connsiteY1" fmla="*/ 1223963 h 1223963"/>
                <a:gd name="connsiteX2" fmla="*/ 4524375 w 4524375"/>
                <a:gd name="connsiteY2" fmla="*/ 1071563 h 1223963"/>
                <a:gd name="connsiteX3" fmla="*/ 3357563 w 4524375"/>
                <a:gd name="connsiteY3" fmla="*/ 0 h 1223963"/>
                <a:gd name="connsiteX0" fmla="*/ 3371851 w 4538663"/>
                <a:gd name="connsiteY0" fmla="*/ 0 h 1219200"/>
                <a:gd name="connsiteX1" fmla="*/ 0 w 4538663"/>
                <a:gd name="connsiteY1" fmla="*/ 1219200 h 1219200"/>
                <a:gd name="connsiteX2" fmla="*/ 4538663 w 4538663"/>
                <a:gd name="connsiteY2" fmla="*/ 1071563 h 1219200"/>
                <a:gd name="connsiteX3" fmla="*/ 3371851 w 4538663"/>
                <a:gd name="connsiteY3" fmla="*/ 0 h 1219200"/>
                <a:gd name="connsiteX0" fmla="*/ 3243264 w 4410076"/>
                <a:gd name="connsiteY0" fmla="*/ 0 h 1071563"/>
                <a:gd name="connsiteX1" fmla="*/ 0 w 4410076"/>
                <a:gd name="connsiteY1" fmla="*/ 1033463 h 1071563"/>
                <a:gd name="connsiteX2" fmla="*/ 4410076 w 4410076"/>
                <a:gd name="connsiteY2" fmla="*/ 1071563 h 1071563"/>
                <a:gd name="connsiteX3" fmla="*/ 3243264 w 4410076"/>
                <a:gd name="connsiteY3" fmla="*/ 0 h 1071563"/>
                <a:gd name="connsiteX0" fmla="*/ 3352801 w 4519613"/>
                <a:gd name="connsiteY0" fmla="*/ 0 h 1214438"/>
                <a:gd name="connsiteX1" fmla="*/ 0 w 4519613"/>
                <a:gd name="connsiteY1" fmla="*/ 1214438 h 1214438"/>
                <a:gd name="connsiteX2" fmla="*/ 4519613 w 4519613"/>
                <a:gd name="connsiteY2" fmla="*/ 1071563 h 1214438"/>
                <a:gd name="connsiteX3" fmla="*/ 3352801 w 4519613"/>
                <a:gd name="connsiteY3" fmla="*/ 0 h 1214438"/>
                <a:gd name="connsiteX0" fmla="*/ 3352801 w 4533261"/>
                <a:gd name="connsiteY0" fmla="*/ 0 h 1214438"/>
                <a:gd name="connsiteX1" fmla="*/ 0 w 4533261"/>
                <a:gd name="connsiteY1" fmla="*/ 1214438 h 1214438"/>
                <a:gd name="connsiteX2" fmla="*/ 4533261 w 4533261"/>
                <a:gd name="connsiteY2" fmla="*/ 1071563 h 1214438"/>
                <a:gd name="connsiteX3" fmla="*/ 3352801 w 4533261"/>
                <a:gd name="connsiteY3" fmla="*/ 0 h 1214438"/>
                <a:gd name="connsiteX0" fmla="*/ 3352801 w 4533261"/>
                <a:gd name="connsiteY0" fmla="*/ 0 h 1214438"/>
                <a:gd name="connsiteX1" fmla="*/ 0 w 4533261"/>
                <a:gd name="connsiteY1" fmla="*/ 1214438 h 1214438"/>
                <a:gd name="connsiteX2" fmla="*/ 4533261 w 4533261"/>
                <a:gd name="connsiteY2" fmla="*/ 1098859 h 1214438"/>
                <a:gd name="connsiteX3" fmla="*/ 3352801 w 4533261"/>
                <a:gd name="connsiteY3" fmla="*/ 0 h 1214438"/>
              </a:gdLst>
              <a:ahLst/>
              <a:cxnLst>
                <a:cxn ang="0">
                  <a:pos x="connsiteX0" y="connsiteY0"/>
                </a:cxn>
                <a:cxn ang="0">
                  <a:pos x="connsiteX1" y="connsiteY1"/>
                </a:cxn>
                <a:cxn ang="0">
                  <a:pos x="connsiteX2" y="connsiteY2"/>
                </a:cxn>
                <a:cxn ang="0">
                  <a:pos x="connsiteX3" y="connsiteY3"/>
                </a:cxn>
              </a:cxnLst>
              <a:rect l="l" t="t" r="r" b="b"/>
              <a:pathLst>
                <a:path w="4533261" h="1214438">
                  <a:moveTo>
                    <a:pt x="3352801" y="0"/>
                  </a:moveTo>
                  <a:lnTo>
                    <a:pt x="0" y="1214438"/>
                  </a:lnTo>
                  <a:lnTo>
                    <a:pt x="4533261" y="1098859"/>
                  </a:lnTo>
                  <a:lnTo>
                    <a:pt x="3352801" y="0"/>
                  </a:lnTo>
                  <a:close/>
                </a:path>
              </a:pathLst>
            </a:custGeom>
            <a:gradFill>
              <a:gsLst>
                <a:gs pos="100000">
                  <a:schemeClr val="accent3"/>
                </a:gs>
                <a:gs pos="44000">
                  <a:schemeClr val="accent2"/>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8" name="Freeform 17"/>
            <p:cNvSpPr/>
            <p:nvPr/>
          </p:nvSpPr>
          <p:spPr>
            <a:xfrm>
              <a:off x="11015664" y="1"/>
              <a:ext cx="1176841" cy="1098080"/>
            </a:xfrm>
            <a:custGeom>
              <a:avLst/>
              <a:gdLst>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6299"/>
                <a:gd name="connsiteY0" fmla="*/ 0 h 1085850"/>
                <a:gd name="connsiteX1" fmla="*/ 1176299 w 1176299"/>
                <a:gd name="connsiteY1" fmla="*/ 1085850 h 1085850"/>
                <a:gd name="connsiteX2" fmla="*/ 1171575 w 1176299"/>
                <a:gd name="connsiteY2" fmla="*/ 0 h 1085850"/>
                <a:gd name="connsiteX3" fmla="*/ 0 w 1176299"/>
                <a:gd name="connsiteY3" fmla="*/ 0 h 1085850"/>
                <a:gd name="connsiteX0" fmla="*/ 0 w 1181344"/>
                <a:gd name="connsiteY0" fmla="*/ 0 h 1085850"/>
                <a:gd name="connsiteX1" fmla="*/ 1176299 w 1181344"/>
                <a:gd name="connsiteY1" fmla="*/ 1085850 h 1085850"/>
                <a:gd name="connsiteX2" fmla="*/ 1181138 w 1181344"/>
                <a:gd name="connsiteY2" fmla="*/ 0 h 1085850"/>
                <a:gd name="connsiteX3" fmla="*/ 0 w 1181344"/>
                <a:gd name="connsiteY3" fmla="*/ 0 h 1085850"/>
                <a:gd name="connsiteX0" fmla="*/ 0 w 1181586"/>
                <a:gd name="connsiteY0" fmla="*/ 0 h 1081088"/>
                <a:gd name="connsiteX1" fmla="*/ 1181080 w 1181586"/>
                <a:gd name="connsiteY1" fmla="*/ 1081088 h 1081088"/>
                <a:gd name="connsiteX2" fmla="*/ 1181138 w 1181586"/>
                <a:gd name="connsiteY2" fmla="*/ 0 h 1081088"/>
                <a:gd name="connsiteX3" fmla="*/ 0 w 1181586"/>
                <a:gd name="connsiteY3" fmla="*/ 0 h 1081088"/>
                <a:gd name="connsiteX0" fmla="*/ 0 w 1181586"/>
                <a:gd name="connsiteY0" fmla="*/ 0 h 1070785"/>
                <a:gd name="connsiteX1" fmla="*/ 1181080 w 1181586"/>
                <a:gd name="connsiteY1" fmla="*/ 1070785 h 1070785"/>
                <a:gd name="connsiteX2" fmla="*/ 1181138 w 1181586"/>
                <a:gd name="connsiteY2" fmla="*/ 0 h 1070785"/>
                <a:gd name="connsiteX3" fmla="*/ 0 w 1181586"/>
                <a:gd name="connsiteY3" fmla="*/ 0 h 1070785"/>
                <a:gd name="connsiteX0" fmla="*/ 0 w 1181152"/>
                <a:gd name="connsiteY0" fmla="*/ 0 h 593113"/>
                <a:gd name="connsiteX1" fmla="*/ 1057755 w 1181152"/>
                <a:gd name="connsiteY1" fmla="*/ 593113 h 593113"/>
                <a:gd name="connsiteX2" fmla="*/ 1181138 w 1181152"/>
                <a:gd name="connsiteY2" fmla="*/ 0 h 593113"/>
                <a:gd name="connsiteX3" fmla="*/ 0 w 1181152"/>
                <a:gd name="connsiteY3" fmla="*/ 0 h 593113"/>
                <a:gd name="connsiteX0" fmla="*/ 0 w 1181586"/>
                <a:gd name="connsiteY0" fmla="*/ 0 h 1098080"/>
                <a:gd name="connsiteX1" fmla="*/ 1181081 w 1181586"/>
                <a:gd name="connsiteY1" fmla="*/ 1098080 h 1098080"/>
                <a:gd name="connsiteX2" fmla="*/ 1181138 w 1181586"/>
                <a:gd name="connsiteY2" fmla="*/ 0 h 1098080"/>
                <a:gd name="connsiteX3" fmla="*/ 0 w 1181586"/>
                <a:gd name="connsiteY3" fmla="*/ 0 h 1098080"/>
              </a:gdLst>
              <a:ahLst/>
              <a:cxnLst>
                <a:cxn ang="0">
                  <a:pos x="connsiteX0" y="connsiteY0"/>
                </a:cxn>
                <a:cxn ang="0">
                  <a:pos x="connsiteX1" y="connsiteY1"/>
                </a:cxn>
                <a:cxn ang="0">
                  <a:pos x="connsiteX2" y="connsiteY2"/>
                </a:cxn>
                <a:cxn ang="0">
                  <a:pos x="connsiteX3" y="connsiteY3"/>
                </a:cxn>
              </a:cxnLst>
              <a:rect l="l" t="t" r="r" b="b"/>
              <a:pathLst>
                <a:path w="1181586" h="1098080">
                  <a:moveTo>
                    <a:pt x="0" y="0"/>
                  </a:moveTo>
                  <a:lnTo>
                    <a:pt x="1181081" y="1098080"/>
                  </a:lnTo>
                  <a:cubicBezTo>
                    <a:pt x="1179506" y="736130"/>
                    <a:pt x="1182713" y="361950"/>
                    <a:pt x="1181138" y="0"/>
                  </a:cubicBezTo>
                  <a:lnTo>
                    <a:pt x="0" y="0"/>
                  </a:lnTo>
                  <a:close/>
                </a:path>
              </a:pathLst>
            </a:custGeom>
            <a:gradFill>
              <a:gsLst>
                <a:gs pos="100000">
                  <a:schemeClr val="accent3"/>
                </a:gs>
                <a:gs pos="44000">
                  <a:schemeClr val="accent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9" name="Freeform 18"/>
            <p:cNvSpPr/>
            <p:nvPr/>
          </p:nvSpPr>
          <p:spPr>
            <a:xfrm>
              <a:off x="10959906" y="1057275"/>
              <a:ext cx="1232552" cy="3276600"/>
            </a:xfrm>
            <a:custGeom>
              <a:avLst/>
              <a:gdLst>
                <a:gd name="connsiteX0" fmla="*/ 1171575 w 1176337"/>
                <a:gd name="connsiteY0" fmla="*/ 0 h 3267075"/>
                <a:gd name="connsiteX1" fmla="*/ 0 w 1176337"/>
                <a:gd name="connsiteY1" fmla="*/ 2762250 h 3267075"/>
                <a:gd name="connsiteX2" fmla="*/ 1176337 w 1176337"/>
                <a:gd name="connsiteY2" fmla="*/ 3267075 h 3267075"/>
                <a:gd name="connsiteX3" fmla="*/ 1171575 w 1176337"/>
                <a:gd name="connsiteY3" fmla="*/ 0 h 3267075"/>
                <a:gd name="connsiteX0" fmla="*/ 1176337 w 1176795"/>
                <a:gd name="connsiteY0" fmla="*/ 0 h 3276600"/>
                <a:gd name="connsiteX1" fmla="*/ 0 w 1176795"/>
                <a:gd name="connsiteY1" fmla="*/ 2771775 h 3276600"/>
                <a:gd name="connsiteX2" fmla="*/ 1176337 w 1176795"/>
                <a:gd name="connsiteY2" fmla="*/ 3276600 h 3276600"/>
                <a:gd name="connsiteX3" fmla="*/ 1176337 w 1176795"/>
                <a:gd name="connsiteY3" fmla="*/ 0 h 3276600"/>
                <a:gd name="connsiteX0" fmla="*/ 1209791 w 1210249"/>
                <a:gd name="connsiteY0" fmla="*/ 0 h 3276600"/>
                <a:gd name="connsiteX1" fmla="*/ 0 w 1210249"/>
                <a:gd name="connsiteY1" fmla="*/ 2771775 h 3276600"/>
                <a:gd name="connsiteX2" fmla="*/ 1209791 w 1210249"/>
                <a:gd name="connsiteY2" fmla="*/ 3276600 h 3276600"/>
                <a:gd name="connsiteX3" fmla="*/ 1209791 w 1210249"/>
                <a:gd name="connsiteY3" fmla="*/ 0 h 3276600"/>
                <a:gd name="connsiteX0" fmla="*/ 1232094 w 1232552"/>
                <a:gd name="connsiteY0" fmla="*/ 0 h 3276600"/>
                <a:gd name="connsiteX1" fmla="*/ 0 w 1232552"/>
                <a:gd name="connsiteY1" fmla="*/ 2749472 h 3276600"/>
                <a:gd name="connsiteX2" fmla="*/ 1232094 w 1232552"/>
                <a:gd name="connsiteY2" fmla="*/ 3276600 h 3276600"/>
                <a:gd name="connsiteX3" fmla="*/ 1232094 w 1232552"/>
                <a:gd name="connsiteY3" fmla="*/ 0 h 3276600"/>
              </a:gdLst>
              <a:ahLst/>
              <a:cxnLst>
                <a:cxn ang="0">
                  <a:pos x="connsiteX0" y="connsiteY0"/>
                </a:cxn>
                <a:cxn ang="0">
                  <a:pos x="connsiteX1" y="connsiteY1"/>
                </a:cxn>
                <a:cxn ang="0">
                  <a:pos x="connsiteX2" y="connsiteY2"/>
                </a:cxn>
                <a:cxn ang="0">
                  <a:pos x="connsiteX3" y="connsiteY3"/>
                </a:cxn>
              </a:cxnLst>
              <a:rect l="l" t="t" r="r" b="b"/>
              <a:pathLst>
                <a:path w="1232552" h="3276600">
                  <a:moveTo>
                    <a:pt x="1232094" y="0"/>
                  </a:moveTo>
                  <a:lnTo>
                    <a:pt x="0" y="2749472"/>
                  </a:lnTo>
                  <a:lnTo>
                    <a:pt x="1232094" y="3276600"/>
                  </a:lnTo>
                  <a:cubicBezTo>
                    <a:pt x="1230507" y="2187575"/>
                    <a:pt x="1233681" y="1089025"/>
                    <a:pt x="1232094" y="0"/>
                  </a:cubicBez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0" name="Freeform 19"/>
            <p:cNvSpPr/>
            <p:nvPr/>
          </p:nvSpPr>
          <p:spPr>
            <a:xfrm>
              <a:off x="6366969" y="2428875"/>
              <a:ext cx="3339005" cy="2271713"/>
            </a:xfrm>
            <a:custGeom>
              <a:avLst/>
              <a:gdLst>
                <a:gd name="connsiteX0" fmla="*/ 0 w 3324225"/>
                <a:gd name="connsiteY0" fmla="*/ 590550 h 2271713"/>
                <a:gd name="connsiteX1" fmla="*/ 1343025 w 3324225"/>
                <a:gd name="connsiteY1" fmla="*/ 2271713 h 2271713"/>
                <a:gd name="connsiteX2" fmla="*/ 3324225 w 3324225"/>
                <a:gd name="connsiteY2" fmla="*/ 0 h 2271713"/>
                <a:gd name="connsiteX3" fmla="*/ 0 w 3324225"/>
                <a:gd name="connsiteY3" fmla="*/ 590550 h 2271713"/>
                <a:gd name="connsiteX0" fmla="*/ 0 w 3333750"/>
                <a:gd name="connsiteY0" fmla="*/ 585787 h 2271713"/>
                <a:gd name="connsiteX1" fmla="*/ 1352550 w 3333750"/>
                <a:gd name="connsiteY1" fmla="*/ 2271713 h 2271713"/>
                <a:gd name="connsiteX2" fmla="*/ 3333750 w 3333750"/>
                <a:gd name="connsiteY2" fmla="*/ 0 h 2271713"/>
                <a:gd name="connsiteX3" fmla="*/ 0 w 3333750"/>
                <a:gd name="connsiteY3" fmla="*/ 585787 h 2271713"/>
                <a:gd name="connsiteX0" fmla="*/ 0 w 3333750"/>
                <a:gd name="connsiteY0" fmla="*/ 591043 h 2271713"/>
                <a:gd name="connsiteX1" fmla="*/ 1352550 w 3333750"/>
                <a:gd name="connsiteY1" fmla="*/ 2271713 h 2271713"/>
                <a:gd name="connsiteX2" fmla="*/ 3333750 w 3333750"/>
                <a:gd name="connsiteY2" fmla="*/ 0 h 2271713"/>
                <a:gd name="connsiteX3" fmla="*/ 0 w 3333750"/>
                <a:gd name="connsiteY3" fmla="*/ 591043 h 2271713"/>
                <a:gd name="connsiteX0" fmla="*/ 0 w 3339005"/>
                <a:gd name="connsiteY0" fmla="*/ 591043 h 2271713"/>
                <a:gd name="connsiteX1" fmla="*/ 1357805 w 3339005"/>
                <a:gd name="connsiteY1" fmla="*/ 2271713 h 2271713"/>
                <a:gd name="connsiteX2" fmla="*/ 3339005 w 3339005"/>
                <a:gd name="connsiteY2" fmla="*/ 0 h 2271713"/>
                <a:gd name="connsiteX3" fmla="*/ 0 w 3339005"/>
                <a:gd name="connsiteY3" fmla="*/ 591043 h 2271713"/>
              </a:gdLst>
              <a:ahLst/>
              <a:cxnLst>
                <a:cxn ang="0">
                  <a:pos x="connsiteX0" y="connsiteY0"/>
                </a:cxn>
                <a:cxn ang="0">
                  <a:pos x="connsiteX1" y="connsiteY1"/>
                </a:cxn>
                <a:cxn ang="0">
                  <a:pos x="connsiteX2" y="connsiteY2"/>
                </a:cxn>
                <a:cxn ang="0">
                  <a:pos x="connsiteX3" y="connsiteY3"/>
                </a:cxn>
              </a:cxnLst>
              <a:rect l="l" t="t" r="r" b="b"/>
              <a:pathLst>
                <a:path w="3339005" h="2271713">
                  <a:moveTo>
                    <a:pt x="0" y="591043"/>
                  </a:moveTo>
                  <a:lnTo>
                    <a:pt x="1357805" y="2271713"/>
                  </a:lnTo>
                  <a:lnTo>
                    <a:pt x="3339005" y="0"/>
                  </a:lnTo>
                  <a:lnTo>
                    <a:pt x="0" y="591043"/>
                  </a:lnTo>
                  <a:close/>
                </a:path>
              </a:pathLst>
            </a:custGeom>
            <a:gradFill>
              <a:gsLst>
                <a:gs pos="100000">
                  <a:schemeClr val="accent3"/>
                </a:gs>
                <a:gs pos="44000">
                  <a:schemeClr val="accent2"/>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1" name="Freeform 20"/>
            <p:cNvSpPr/>
            <p:nvPr/>
          </p:nvSpPr>
          <p:spPr>
            <a:xfrm>
              <a:off x="1025774" y="1761707"/>
              <a:ext cx="2098477" cy="1910094"/>
            </a:xfrm>
            <a:custGeom>
              <a:avLst/>
              <a:gdLst>
                <a:gd name="connsiteX0" fmla="*/ 2086304 w 2086304"/>
                <a:gd name="connsiteY0" fmla="*/ 0 h 1886607"/>
                <a:gd name="connsiteX1" fmla="*/ 0 w 2086304"/>
                <a:gd name="connsiteY1" fmla="*/ 15765 h 1886607"/>
                <a:gd name="connsiteX2" fmla="*/ 362607 w 2086304"/>
                <a:gd name="connsiteY2" fmla="*/ 1886607 h 1886607"/>
                <a:gd name="connsiteX3" fmla="*/ 2086304 w 2086304"/>
                <a:gd name="connsiteY3" fmla="*/ 0 h 1886607"/>
                <a:gd name="connsiteX0" fmla="*/ 2101053 w 2101053"/>
                <a:gd name="connsiteY0" fmla="*/ 0 h 1886607"/>
                <a:gd name="connsiteX1" fmla="*/ 0 w 2101053"/>
                <a:gd name="connsiteY1" fmla="*/ 1207 h 1886607"/>
                <a:gd name="connsiteX2" fmla="*/ 377356 w 2101053"/>
                <a:gd name="connsiteY2" fmla="*/ 1886607 h 1886607"/>
                <a:gd name="connsiteX3" fmla="*/ 2101053 w 2101053"/>
                <a:gd name="connsiteY3" fmla="*/ 0 h 1886607"/>
                <a:gd name="connsiteX0" fmla="*/ 2098477 w 2098477"/>
                <a:gd name="connsiteY0" fmla="*/ 8963 h 1885400"/>
                <a:gd name="connsiteX1" fmla="*/ 0 w 2098477"/>
                <a:gd name="connsiteY1" fmla="*/ 0 h 1885400"/>
                <a:gd name="connsiteX2" fmla="*/ 377356 w 2098477"/>
                <a:gd name="connsiteY2" fmla="*/ 1885400 h 1885400"/>
                <a:gd name="connsiteX3" fmla="*/ 2098477 w 2098477"/>
                <a:gd name="connsiteY3" fmla="*/ 8963 h 1885400"/>
              </a:gdLst>
              <a:ahLst/>
              <a:cxnLst>
                <a:cxn ang="0">
                  <a:pos x="connsiteX0" y="connsiteY0"/>
                </a:cxn>
                <a:cxn ang="0">
                  <a:pos x="connsiteX1" y="connsiteY1"/>
                </a:cxn>
                <a:cxn ang="0">
                  <a:pos x="connsiteX2" y="connsiteY2"/>
                </a:cxn>
                <a:cxn ang="0">
                  <a:pos x="connsiteX3" y="connsiteY3"/>
                </a:cxn>
              </a:cxnLst>
              <a:rect l="l" t="t" r="r" b="b"/>
              <a:pathLst>
                <a:path w="2098477" h="1885400">
                  <a:moveTo>
                    <a:pt x="2098477" y="8963"/>
                  </a:moveTo>
                  <a:lnTo>
                    <a:pt x="0" y="0"/>
                  </a:lnTo>
                  <a:lnTo>
                    <a:pt x="377356" y="1885400"/>
                  </a:lnTo>
                  <a:lnTo>
                    <a:pt x="2098477" y="8963"/>
                  </a:lnTo>
                  <a:close/>
                </a:path>
              </a:pathLst>
            </a:custGeom>
            <a:gradFill>
              <a:gsLst>
                <a:gs pos="100000">
                  <a:schemeClr val="accent3"/>
                </a:gs>
                <a:gs pos="44000">
                  <a:schemeClr val="accent2"/>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2" name="Freeform 21"/>
            <p:cNvSpPr/>
            <p:nvPr/>
          </p:nvSpPr>
          <p:spPr>
            <a:xfrm>
              <a:off x="3532" y="4857972"/>
              <a:ext cx="4090198" cy="2007612"/>
            </a:xfrm>
            <a:custGeom>
              <a:avLst/>
              <a:gdLst>
                <a:gd name="connsiteX0" fmla="*/ 3576398 w 4077729"/>
                <a:gd name="connsiteY0" fmla="*/ 0 h 1994733"/>
                <a:gd name="connsiteX1" fmla="*/ 4077729 w 4077729"/>
                <a:gd name="connsiteY1" fmla="*/ 1101516 h 1994733"/>
                <a:gd name="connsiteX2" fmla="*/ 0 w 4077729"/>
                <a:gd name="connsiteY2" fmla="*/ 1994733 h 1994733"/>
                <a:gd name="connsiteX3" fmla="*/ 3576398 w 4077729"/>
                <a:gd name="connsiteY3" fmla="*/ 0 h 1994733"/>
                <a:gd name="connsiteX0" fmla="*/ 3576398 w 4086042"/>
                <a:gd name="connsiteY0" fmla="*/ 0 h 1994733"/>
                <a:gd name="connsiteX1" fmla="*/ 4086042 w 4086042"/>
                <a:gd name="connsiteY1" fmla="*/ 1093204 h 1994733"/>
                <a:gd name="connsiteX2" fmla="*/ 0 w 4086042"/>
                <a:gd name="connsiteY2" fmla="*/ 1994733 h 1994733"/>
                <a:gd name="connsiteX3" fmla="*/ 3576398 w 4086042"/>
                <a:gd name="connsiteY3" fmla="*/ 0 h 1994733"/>
                <a:gd name="connsiteX0" fmla="*/ 3576398 w 4090198"/>
                <a:gd name="connsiteY0" fmla="*/ 0 h 1994733"/>
                <a:gd name="connsiteX1" fmla="*/ 4090198 w 4090198"/>
                <a:gd name="connsiteY1" fmla="*/ 1084892 h 1994733"/>
                <a:gd name="connsiteX2" fmla="*/ 0 w 4090198"/>
                <a:gd name="connsiteY2" fmla="*/ 1994733 h 1994733"/>
                <a:gd name="connsiteX3" fmla="*/ 3576398 w 4090198"/>
                <a:gd name="connsiteY3" fmla="*/ 0 h 1994733"/>
                <a:gd name="connsiteX0" fmla="*/ 3576398 w 4090198"/>
                <a:gd name="connsiteY0" fmla="*/ 0 h 2007612"/>
                <a:gd name="connsiteX1" fmla="*/ 4090198 w 4090198"/>
                <a:gd name="connsiteY1" fmla="*/ 1084892 h 2007612"/>
                <a:gd name="connsiteX2" fmla="*/ 0 w 4090198"/>
                <a:gd name="connsiteY2" fmla="*/ 2007612 h 2007612"/>
                <a:gd name="connsiteX3" fmla="*/ 3576398 w 4090198"/>
                <a:gd name="connsiteY3" fmla="*/ 0 h 2007612"/>
              </a:gdLst>
              <a:ahLst/>
              <a:cxnLst>
                <a:cxn ang="0">
                  <a:pos x="connsiteX0" y="connsiteY0"/>
                </a:cxn>
                <a:cxn ang="0">
                  <a:pos x="connsiteX1" y="connsiteY1"/>
                </a:cxn>
                <a:cxn ang="0">
                  <a:pos x="connsiteX2" y="connsiteY2"/>
                </a:cxn>
                <a:cxn ang="0">
                  <a:pos x="connsiteX3" y="connsiteY3"/>
                </a:cxn>
              </a:cxnLst>
              <a:rect l="l" t="t" r="r" b="b"/>
              <a:pathLst>
                <a:path w="4090198" h="2007612">
                  <a:moveTo>
                    <a:pt x="3576398" y="0"/>
                  </a:moveTo>
                  <a:lnTo>
                    <a:pt x="4090198" y="1084892"/>
                  </a:lnTo>
                  <a:lnTo>
                    <a:pt x="0" y="2007612"/>
                  </a:lnTo>
                  <a:lnTo>
                    <a:pt x="3576398"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3" name="Freeform 22"/>
            <p:cNvSpPr/>
            <p:nvPr/>
          </p:nvSpPr>
          <p:spPr>
            <a:xfrm>
              <a:off x="-6301" y="5938309"/>
              <a:ext cx="4092304" cy="924304"/>
            </a:xfrm>
            <a:custGeom>
              <a:avLst/>
              <a:gdLst>
                <a:gd name="connsiteX0" fmla="*/ 4074199 w 4074199"/>
                <a:gd name="connsiteY0" fmla="*/ 0 h 907339"/>
                <a:gd name="connsiteX1" fmla="*/ 3357507 w 4074199"/>
                <a:gd name="connsiteY1" fmla="*/ 907339 h 907339"/>
                <a:gd name="connsiteX2" fmla="*/ 0 w 4074199"/>
                <a:gd name="connsiteY2" fmla="*/ 907339 h 907339"/>
                <a:gd name="connsiteX3" fmla="*/ 4074199 w 4074199"/>
                <a:gd name="connsiteY3" fmla="*/ 0 h 907339"/>
                <a:gd name="connsiteX0" fmla="*/ 4084791 w 4084791"/>
                <a:gd name="connsiteY0" fmla="*/ 0 h 907339"/>
                <a:gd name="connsiteX1" fmla="*/ 3368099 w 4084791"/>
                <a:gd name="connsiteY1" fmla="*/ 907339 h 907339"/>
                <a:gd name="connsiteX2" fmla="*/ 0 w 4084791"/>
                <a:gd name="connsiteY2" fmla="*/ 907339 h 907339"/>
                <a:gd name="connsiteX3" fmla="*/ 4084791 w 4084791"/>
                <a:gd name="connsiteY3" fmla="*/ 0 h 907339"/>
                <a:gd name="connsiteX0" fmla="*/ 4100031 w 4100031"/>
                <a:gd name="connsiteY0" fmla="*/ 0 h 907339"/>
                <a:gd name="connsiteX1" fmla="*/ 3368099 w 4100031"/>
                <a:gd name="connsiteY1" fmla="*/ 907339 h 907339"/>
                <a:gd name="connsiteX2" fmla="*/ 0 w 4100031"/>
                <a:gd name="connsiteY2" fmla="*/ 907339 h 907339"/>
                <a:gd name="connsiteX3" fmla="*/ 4100031 w 4100031"/>
                <a:gd name="connsiteY3" fmla="*/ 0 h 907339"/>
                <a:gd name="connsiteX0" fmla="*/ 4102607 w 4102607"/>
                <a:gd name="connsiteY0" fmla="*/ 0 h 907339"/>
                <a:gd name="connsiteX1" fmla="*/ 3370675 w 4102607"/>
                <a:gd name="connsiteY1" fmla="*/ 907339 h 907339"/>
                <a:gd name="connsiteX2" fmla="*/ 0 w 4102607"/>
                <a:gd name="connsiteY2" fmla="*/ 857464 h 907339"/>
                <a:gd name="connsiteX3" fmla="*/ 4102607 w 4102607"/>
                <a:gd name="connsiteY3" fmla="*/ 0 h 907339"/>
                <a:gd name="connsiteX0" fmla="*/ 4097455 w 4097455"/>
                <a:gd name="connsiteY0" fmla="*/ 0 h 907339"/>
                <a:gd name="connsiteX1" fmla="*/ 3365523 w 4097455"/>
                <a:gd name="connsiteY1" fmla="*/ 907339 h 907339"/>
                <a:gd name="connsiteX2" fmla="*/ 0 w 4097455"/>
                <a:gd name="connsiteY2" fmla="*/ 859958 h 907339"/>
                <a:gd name="connsiteX3" fmla="*/ 4097455 w 4097455"/>
                <a:gd name="connsiteY3" fmla="*/ 0 h 907339"/>
                <a:gd name="connsiteX0" fmla="*/ 4097455 w 4097455"/>
                <a:gd name="connsiteY0" fmla="*/ 0 h 862451"/>
                <a:gd name="connsiteX1" fmla="*/ 3411887 w 4097455"/>
                <a:gd name="connsiteY1" fmla="*/ 862451 h 862451"/>
                <a:gd name="connsiteX2" fmla="*/ 0 w 4097455"/>
                <a:gd name="connsiteY2" fmla="*/ 859958 h 862451"/>
                <a:gd name="connsiteX3" fmla="*/ 4097455 w 4097455"/>
                <a:gd name="connsiteY3" fmla="*/ 0 h 862451"/>
                <a:gd name="connsiteX0" fmla="*/ 4089728 w 4089728"/>
                <a:gd name="connsiteY0" fmla="*/ 0 h 892377"/>
                <a:gd name="connsiteX1" fmla="*/ 3411887 w 4089728"/>
                <a:gd name="connsiteY1" fmla="*/ 892377 h 892377"/>
                <a:gd name="connsiteX2" fmla="*/ 0 w 4089728"/>
                <a:gd name="connsiteY2" fmla="*/ 889884 h 892377"/>
                <a:gd name="connsiteX3" fmla="*/ 4089728 w 4089728"/>
                <a:gd name="connsiteY3" fmla="*/ 0 h 892377"/>
                <a:gd name="connsiteX0" fmla="*/ 4089728 w 4089728"/>
                <a:gd name="connsiteY0" fmla="*/ 0 h 892377"/>
                <a:gd name="connsiteX1" fmla="*/ 3424766 w 4089728"/>
                <a:gd name="connsiteY1" fmla="*/ 892377 h 892377"/>
                <a:gd name="connsiteX2" fmla="*/ 0 w 4089728"/>
                <a:gd name="connsiteY2" fmla="*/ 889884 h 892377"/>
                <a:gd name="connsiteX3" fmla="*/ 4089728 w 4089728"/>
                <a:gd name="connsiteY3" fmla="*/ 0 h 892377"/>
                <a:gd name="connsiteX0" fmla="*/ 4089728 w 4089728"/>
                <a:gd name="connsiteY0" fmla="*/ 0 h 889884"/>
                <a:gd name="connsiteX1" fmla="*/ 3360372 w 4089728"/>
                <a:gd name="connsiteY1" fmla="*/ 889884 h 889884"/>
                <a:gd name="connsiteX2" fmla="*/ 0 w 4089728"/>
                <a:gd name="connsiteY2" fmla="*/ 889884 h 889884"/>
                <a:gd name="connsiteX3" fmla="*/ 4089728 w 4089728"/>
                <a:gd name="connsiteY3" fmla="*/ 0 h 889884"/>
                <a:gd name="connsiteX0" fmla="*/ 4079425 w 4079425"/>
                <a:gd name="connsiteY0" fmla="*/ 0 h 889884"/>
                <a:gd name="connsiteX1" fmla="*/ 3350069 w 4079425"/>
                <a:gd name="connsiteY1" fmla="*/ 889884 h 889884"/>
                <a:gd name="connsiteX2" fmla="*/ 0 w 4079425"/>
                <a:gd name="connsiteY2" fmla="*/ 882403 h 889884"/>
                <a:gd name="connsiteX3" fmla="*/ 4079425 w 4079425"/>
                <a:gd name="connsiteY3" fmla="*/ 0 h 889884"/>
                <a:gd name="connsiteX0" fmla="*/ 4082000 w 4082000"/>
                <a:gd name="connsiteY0" fmla="*/ 0 h 889884"/>
                <a:gd name="connsiteX1" fmla="*/ 3352644 w 4082000"/>
                <a:gd name="connsiteY1" fmla="*/ 889884 h 889884"/>
                <a:gd name="connsiteX2" fmla="*/ 0 w 4082000"/>
                <a:gd name="connsiteY2" fmla="*/ 882403 h 889884"/>
                <a:gd name="connsiteX3" fmla="*/ 4082000 w 4082000"/>
                <a:gd name="connsiteY3" fmla="*/ 0 h 889884"/>
                <a:gd name="connsiteX0" fmla="*/ 4087152 w 4087152"/>
                <a:gd name="connsiteY0" fmla="*/ 0 h 1007091"/>
                <a:gd name="connsiteX1" fmla="*/ 3357796 w 4087152"/>
                <a:gd name="connsiteY1" fmla="*/ 889884 h 1007091"/>
                <a:gd name="connsiteX2" fmla="*/ 0 w 4087152"/>
                <a:gd name="connsiteY2" fmla="*/ 1007091 h 1007091"/>
                <a:gd name="connsiteX3" fmla="*/ 4087152 w 4087152"/>
                <a:gd name="connsiteY3" fmla="*/ 0 h 1007091"/>
                <a:gd name="connsiteX0" fmla="*/ 4092304 w 4092304"/>
                <a:gd name="connsiteY0" fmla="*/ 0 h 894872"/>
                <a:gd name="connsiteX1" fmla="*/ 3362948 w 4092304"/>
                <a:gd name="connsiteY1" fmla="*/ 889884 h 894872"/>
                <a:gd name="connsiteX2" fmla="*/ 0 w 4092304"/>
                <a:gd name="connsiteY2" fmla="*/ 894872 h 894872"/>
                <a:gd name="connsiteX3" fmla="*/ 4092304 w 4092304"/>
                <a:gd name="connsiteY3" fmla="*/ 0 h 894872"/>
              </a:gdLst>
              <a:ahLst/>
              <a:cxnLst>
                <a:cxn ang="0">
                  <a:pos x="connsiteX0" y="connsiteY0"/>
                </a:cxn>
                <a:cxn ang="0">
                  <a:pos x="connsiteX1" y="connsiteY1"/>
                </a:cxn>
                <a:cxn ang="0">
                  <a:pos x="connsiteX2" y="connsiteY2"/>
                </a:cxn>
                <a:cxn ang="0">
                  <a:pos x="connsiteX3" y="connsiteY3"/>
                </a:cxn>
              </a:cxnLst>
              <a:rect l="l" t="t" r="r" b="b"/>
              <a:pathLst>
                <a:path w="4092304" h="894872">
                  <a:moveTo>
                    <a:pt x="4092304" y="0"/>
                  </a:moveTo>
                  <a:lnTo>
                    <a:pt x="3362948" y="889884"/>
                  </a:lnTo>
                  <a:lnTo>
                    <a:pt x="0" y="894872"/>
                  </a:lnTo>
                  <a:lnTo>
                    <a:pt x="4092304"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a:off x="3317876" y="5936217"/>
              <a:ext cx="5416584" cy="930949"/>
            </a:xfrm>
            <a:custGeom>
              <a:avLst/>
              <a:gdLst>
                <a:gd name="connsiteX0" fmla="*/ 683287 w 5365819"/>
                <a:gd name="connsiteY0" fmla="*/ 0 h 914400"/>
                <a:gd name="connsiteX1" fmla="*/ 5365819 w 5365819"/>
                <a:gd name="connsiteY1" fmla="*/ 904351 h 914400"/>
                <a:gd name="connsiteX2" fmla="*/ 0 w 5365819"/>
                <a:gd name="connsiteY2" fmla="*/ 914400 h 914400"/>
                <a:gd name="connsiteX3" fmla="*/ 683287 w 5365819"/>
                <a:gd name="connsiteY3" fmla="*/ 0 h 914400"/>
                <a:gd name="connsiteX0" fmla="*/ 711531 w 5394063"/>
                <a:gd name="connsiteY0" fmla="*/ 0 h 917930"/>
                <a:gd name="connsiteX1" fmla="*/ 5394063 w 5394063"/>
                <a:gd name="connsiteY1" fmla="*/ 904351 h 917930"/>
                <a:gd name="connsiteX2" fmla="*/ 0 w 5394063"/>
                <a:gd name="connsiteY2" fmla="*/ 917930 h 917930"/>
                <a:gd name="connsiteX3" fmla="*/ 711531 w 5394063"/>
                <a:gd name="connsiteY3" fmla="*/ 0 h 917930"/>
                <a:gd name="connsiteX0" fmla="*/ 725653 w 5394063"/>
                <a:gd name="connsiteY0" fmla="*/ 0 h 910869"/>
                <a:gd name="connsiteX1" fmla="*/ 5394063 w 5394063"/>
                <a:gd name="connsiteY1" fmla="*/ 897290 h 910869"/>
                <a:gd name="connsiteX2" fmla="*/ 0 w 5394063"/>
                <a:gd name="connsiteY2" fmla="*/ 910869 h 910869"/>
                <a:gd name="connsiteX3" fmla="*/ 725653 w 5394063"/>
                <a:gd name="connsiteY3" fmla="*/ 0 h 910869"/>
                <a:gd name="connsiteX0" fmla="*/ 725653 w 5376410"/>
                <a:gd name="connsiteY0" fmla="*/ 0 h 910869"/>
                <a:gd name="connsiteX1" fmla="*/ 5376410 w 5376410"/>
                <a:gd name="connsiteY1" fmla="*/ 907881 h 910869"/>
                <a:gd name="connsiteX2" fmla="*/ 0 w 5376410"/>
                <a:gd name="connsiteY2" fmla="*/ 910869 h 910869"/>
                <a:gd name="connsiteX3" fmla="*/ 725653 w 5376410"/>
                <a:gd name="connsiteY3" fmla="*/ 0 h 910869"/>
                <a:gd name="connsiteX0" fmla="*/ 783842 w 5376410"/>
                <a:gd name="connsiteY0" fmla="*/ 0 h 765396"/>
                <a:gd name="connsiteX1" fmla="*/ 5376410 w 5376410"/>
                <a:gd name="connsiteY1" fmla="*/ 762408 h 765396"/>
                <a:gd name="connsiteX2" fmla="*/ 0 w 5376410"/>
                <a:gd name="connsiteY2" fmla="*/ 765396 h 765396"/>
                <a:gd name="connsiteX3" fmla="*/ 783842 w 5376410"/>
                <a:gd name="connsiteY3" fmla="*/ 0 h 765396"/>
                <a:gd name="connsiteX0" fmla="*/ 729810 w 5376410"/>
                <a:gd name="connsiteY0" fmla="*/ 0 h 910869"/>
                <a:gd name="connsiteX1" fmla="*/ 5376410 w 5376410"/>
                <a:gd name="connsiteY1" fmla="*/ 907881 h 910869"/>
                <a:gd name="connsiteX2" fmla="*/ 0 w 5376410"/>
                <a:gd name="connsiteY2" fmla="*/ 910869 h 910869"/>
                <a:gd name="connsiteX3" fmla="*/ 729810 w 5376410"/>
                <a:gd name="connsiteY3" fmla="*/ 0 h 910869"/>
                <a:gd name="connsiteX0" fmla="*/ 714570 w 5376410"/>
                <a:gd name="connsiteY0" fmla="*/ 0 h 918489"/>
                <a:gd name="connsiteX1" fmla="*/ 5376410 w 5376410"/>
                <a:gd name="connsiteY1" fmla="*/ 915501 h 918489"/>
                <a:gd name="connsiteX2" fmla="*/ 0 w 5376410"/>
                <a:gd name="connsiteY2" fmla="*/ 918489 h 918489"/>
                <a:gd name="connsiteX3" fmla="*/ 714570 w 5376410"/>
                <a:gd name="connsiteY3" fmla="*/ 0 h 918489"/>
                <a:gd name="connsiteX0" fmla="*/ 809820 w 5376410"/>
                <a:gd name="connsiteY0" fmla="*/ 0 h 758469"/>
                <a:gd name="connsiteX1" fmla="*/ 5376410 w 5376410"/>
                <a:gd name="connsiteY1" fmla="*/ 755481 h 758469"/>
                <a:gd name="connsiteX2" fmla="*/ 0 w 5376410"/>
                <a:gd name="connsiteY2" fmla="*/ 758469 h 758469"/>
                <a:gd name="connsiteX3" fmla="*/ 809820 w 5376410"/>
                <a:gd name="connsiteY3" fmla="*/ 0 h 758469"/>
                <a:gd name="connsiteX0" fmla="*/ 710760 w 5376410"/>
                <a:gd name="connsiteY0" fmla="*/ 0 h 918489"/>
                <a:gd name="connsiteX1" fmla="*/ 5376410 w 5376410"/>
                <a:gd name="connsiteY1" fmla="*/ 915501 h 918489"/>
                <a:gd name="connsiteX2" fmla="*/ 0 w 5376410"/>
                <a:gd name="connsiteY2" fmla="*/ 918489 h 918489"/>
                <a:gd name="connsiteX3" fmla="*/ 710760 w 5376410"/>
                <a:gd name="connsiteY3" fmla="*/ 0 h 918489"/>
                <a:gd name="connsiteX0" fmla="*/ 722190 w 5376410"/>
                <a:gd name="connsiteY0" fmla="*/ 0 h 914679"/>
                <a:gd name="connsiteX1" fmla="*/ 5376410 w 5376410"/>
                <a:gd name="connsiteY1" fmla="*/ 911691 h 914679"/>
                <a:gd name="connsiteX2" fmla="*/ 0 w 5376410"/>
                <a:gd name="connsiteY2" fmla="*/ 914679 h 914679"/>
                <a:gd name="connsiteX3" fmla="*/ 722190 w 5376410"/>
                <a:gd name="connsiteY3" fmla="*/ 0 h 914679"/>
                <a:gd name="connsiteX0" fmla="*/ 735069 w 5389289"/>
                <a:gd name="connsiteY0" fmla="*/ 0 h 912104"/>
                <a:gd name="connsiteX1" fmla="*/ 5389289 w 5389289"/>
                <a:gd name="connsiteY1" fmla="*/ 911691 h 912104"/>
                <a:gd name="connsiteX2" fmla="*/ 0 w 5389289"/>
                <a:gd name="connsiteY2" fmla="*/ 912104 h 912104"/>
                <a:gd name="connsiteX3" fmla="*/ 735069 w 5389289"/>
                <a:gd name="connsiteY3" fmla="*/ 0 h 912104"/>
                <a:gd name="connsiteX0" fmla="*/ 735069 w 5389289"/>
                <a:gd name="connsiteY0" fmla="*/ 0 h 925339"/>
                <a:gd name="connsiteX1" fmla="*/ 5389289 w 5389289"/>
                <a:gd name="connsiteY1" fmla="*/ 925339 h 925339"/>
                <a:gd name="connsiteX2" fmla="*/ 0 w 5389289"/>
                <a:gd name="connsiteY2" fmla="*/ 912104 h 925339"/>
                <a:gd name="connsiteX3" fmla="*/ 735069 w 5389289"/>
                <a:gd name="connsiteY3" fmla="*/ 0 h 925339"/>
                <a:gd name="connsiteX0" fmla="*/ 762364 w 5416584"/>
                <a:gd name="connsiteY0" fmla="*/ 0 h 939400"/>
                <a:gd name="connsiteX1" fmla="*/ 5416584 w 5416584"/>
                <a:gd name="connsiteY1" fmla="*/ 925339 h 939400"/>
                <a:gd name="connsiteX2" fmla="*/ 0 w 5416584"/>
                <a:gd name="connsiteY2" fmla="*/ 939400 h 939400"/>
                <a:gd name="connsiteX3" fmla="*/ 762364 w 5416584"/>
                <a:gd name="connsiteY3" fmla="*/ 0 h 939400"/>
                <a:gd name="connsiteX0" fmla="*/ 762364 w 5416584"/>
                <a:gd name="connsiteY0" fmla="*/ 0 h 945010"/>
                <a:gd name="connsiteX1" fmla="*/ 5416584 w 5416584"/>
                <a:gd name="connsiteY1" fmla="*/ 930949 h 945010"/>
                <a:gd name="connsiteX2" fmla="*/ 0 w 5416584"/>
                <a:gd name="connsiteY2" fmla="*/ 945010 h 945010"/>
                <a:gd name="connsiteX3" fmla="*/ 762364 w 5416584"/>
                <a:gd name="connsiteY3" fmla="*/ 0 h 945010"/>
                <a:gd name="connsiteX0" fmla="*/ 762364 w 5416584"/>
                <a:gd name="connsiteY0" fmla="*/ 0 h 930949"/>
                <a:gd name="connsiteX1" fmla="*/ 5416584 w 5416584"/>
                <a:gd name="connsiteY1" fmla="*/ 930949 h 930949"/>
                <a:gd name="connsiteX2" fmla="*/ 0 w 5416584"/>
                <a:gd name="connsiteY2" fmla="*/ 921156 h 930949"/>
                <a:gd name="connsiteX3" fmla="*/ 762364 w 5416584"/>
                <a:gd name="connsiteY3" fmla="*/ 0 h 930949"/>
              </a:gdLst>
              <a:ahLst/>
              <a:cxnLst>
                <a:cxn ang="0">
                  <a:pos x="connsiteX0" y="connsiteY0"/>
                </a:cxn>
                <a:cxn ang="0">
                  <a:pos x="connsiteX1" y="connsiteY1"/>
                </a:cxn>
                <a:cxn ang="0">
                  <a:pos x="connsiteX2" y="connsiteY2"/>
                </a:cxn>
                <a:cxn ang="0">
                  <a:pos x="connsiteX3" y="connsiteY3"/>
                </a:cxn>
              </a:cxnLst>
              <a:rect l="l" t="t" r="r" b="b"/>
              <a:pathLst>
                <a:path w="5416584" h="930949">
                  <a:moveTo>
                    <a:pt x="762364" y="0"/>
                  </a:moveTo>
                  <a:lnTo>
                    <a:pt x="5416584" y="930949"/>
                  </a:lnTo>
                  <a:lnTo>
                    <a:pt x="0" y="921156"/>
                  </a:lnTo>
                  <a:lnTo>
                    <a:pt x="762364" y="0"/>
                  </a:ln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6" name="Freeform 25"/>
            <p:cNvSpPr/>
            <p:nvPr/>
          </p:nvSpPr>
          <p:spPr>
            <a:xfrm>
              <a:off x="10990536" y="3785435"/>
              <a:ext cx="1209457" cy="3091509"/>
            </a:xfrm>
            <a:custGeom>
              <a:avLst/>
              <a:gdLst>
                <a:gd name="connsiteX0" fmla="*/ 0 w 1182718"/>
                <a:gd name="connsiteY0" fmla="*/ 0 h 3032701"/>
                <a:gd name="connsiteX1" fmla="*/ 497800 w 1182718"/>
                <a:gd name="connsiteY1" fmla="*/ 3032701 h 3032701"/>
                <a:gd name="connsiteX2" fmla="*/ 1182718 w 1182718"/>
                <a:gd name="connsiteY2" fmla="*/ 515453 h 3032701"/>
                <a:gd name="connsiteX3" fmla="*/ 0 w 1182718"/>
                <a:gd name="connsiteY3" fmla="*/ 0 h 3032701"/>
                <a:gd name="connsiteX0" fmla="*/ 0 w 1179187"/>
                <a:gd name="connsiteY0" fmla="*/ 0 h 3029170"/>
                <a:gd name="connsiteX1" fmla="*/ 494269 w 1179187"/>
                <a:gd name="connsiteY1" fmla="*/ 3029170 h 3029170"/>
                <a:gd name="connsiteX2" fmla="*/ 1179187 w 1179187"/>
                <a:gd name="connsiteY2" fmla="*/ 511922 h 3029170"/>
                <a:gd name="connsiteX3" fmla="*/ 0 w 1179187"/>
                <a:gd name="connsiteY3" fmla="*/ 0 h 3029170"/>
                <a:gd name="connsiteX0" fmla="*/ 0 w 1179187"/>
                <a:gd name="connsiteY0" fmla="*/ 0 h 3039761"/>
                <a:gd name="connsiteX1" fmla="*/ 483677 w 1179187"/>
                <a:gd name="connsiteY1" fmla="*/ 3039761 h 3039761"/>
                <a:gd name="connsiteX2" fmla="*/ 1179187 w 1179187"/>
                <a:gd name="connsiteY2" fmla="*/ 511922 h 3039761"/>
                <a:gd name="connsiteX3" fmla="*/ 0 w 1179187"/>
                <a:gd name="connsiteY3" fmla="*/ 0 h 3039761"/>
                <a:gd name="connsiteX0" fmla="*/ 0 w 1190407"/>
                <a:gd name="connsiteY0" fmla="*/ 0 h 3039761"/>
                <a:gd name="connsiteX1" fmla="*/ 494897 w 1190407"/>
                <a:gd name="connsiteY1" fmla="*/ 3039761 h 3039761"/>
                <a:gd name="connsiteX2" fmla="*/ 1190407 w 1190407"/>
                <a:gd name="connsiteY2" fmla="*/ 511922 h 3039761"/>
                <a:gd name="connsiteX3" fmla="*/ 0 w 1190407"/>
                <a:gd name="connsiteY3" fmla="*/ 0 h 3039761"/>
                <a:gd name="connsiteX0" fmla="*/ 0 w 1203107"/>
                <a:gd name="connsiteY0" fmla="*/ 0 h 3065161"/>
                <a:gd name="connsiteX1" fmla="*/ 507597 w 1203107"/>
                <a:gd name="connsiteY1" fmla="*/ 3065161 h 3065161"/>
                <a:gd name="connsiteX2" fmla="*/ 1203107 w 1203107"/>
                <a:gd name="connsiteY2" fmla="*/ 537322 h 3065161"/>
                <a:gd name="connsiteX3" fmla="*/ 0 w 1203107"/>
                <a:gd name="connsiteY3" fmla="*/ 0 h 3065161"/>
                <a:gd name="connsiteX0" fmla="*/ 0 w 1209457"/>
                <a:gd name="connsiteY0" fmla="*/ 0 h 3065161"/>
                <a:gd name="connsiteX1" fmla="*/ 507597 w 1209457"/>
                <a:gd name="connsiteY1" fmla="*/ 3065161 h 3065161"/>
                <a:gd name="connsiteX2" fmla="*/ 1209457 w 1209457"/>
                <a:gd name="connsiteY2" fmla="*/ 543672 h 3065161"/>
                <a:gd name="connsiteX3" fmla="*/ 0 w 1209457"/>
                <a:gd name="connsiteY3" fmla="*/ 0 h 3065161"/>
                <a:gd name="connsiteX0" fmla="*/ 0 w 1215807"/>
                <a:gd name="connsiteY0" fmla="*/ 0 h 3065161"/>
                <a:gd name="connsiteX1" fmla="*/ 507597 w 1215807"/>
                <a:gd name="connsiteY1" fmla="*/ 3065161 h 3065161"/>
                <a:gd name="connsiteX2" fmla="*/ 1215807 w 1215807"/>
                <a:gd name="connsiteY2" fmla="*/ 537322 h 3065161"/>
                <a:gd name="connsiteX3" fmla="*/ 0 w 1215807"/>
                <a:gd name="connsiteY3" fmla="*/ 0 h 3065161"/>
                <a:gd name="connsiteX0" fmla="*/ 0 w 1209457"/>
                <a:gd name="connsiteY0" fmla="*/ 0 h 3077861"/>
                <a:gd name="connsiteX1" fmla="*/ 501247 w 1209457"/>
                <a:gd name="connsiteY1" fmla="*/ 3077861 h 3077861"/>
                <a:gd name="connsiteX2" fmla="*/ 1209457 w 1209457"/>
                <a:gd name="connsiteY2" fmla="*/ 550022 h 3077861"/>
                <a:gd name="connsiteX3" fmla="*/ 0 w 1209457"/>
                <a:gd name="connsiteY3" fmla="*/ 0 h 3077861"/>
                <a:gd name="connsiteX0" fmla="*/ 0 w 1209457"/>
                <a:gd name="connsiteY0" fmla="*/ 0 h 3091509"/>
                <a:gd name="connsiteX1" fmla="*/ 501247 w 1209457"/>
                <a:gd name="connsiteY1" fmla="*/ 3091509 h 3091509"/>
                <a:gd name="connsiteX2" fmla="*/ 1209457 w 1209457"/>
                <a:gd name="connsiteY2" fmla="*/ 550022 h 3091509"/>
                <a:gd name="connsiteX3" fmla="*/ 0 w 1209457"/>
                <a:gd name="connsiteY3" fmla="*/ 0 h 3091509"/>
              </a:gdLst>
              <a:ahLst/>
              <a:cxnLst>
                <a:cxn ang="0">
                  <a:pos x="connsiteX0" y="connsiteY0"/>
                </a:cxn>
                <a:cxn ang="0">
                  <a:pos x="connsiteX1" y="connsiteY1"/>
                </a:cxn>
                <a:cxn ang="0">
                  <a:pos x="connsiteX2" y="connsiteY2"/>
                </a:cxn>
                <a:cxn ang="0">
                  <a:pos x="connsiteX3" y="connsiteY3"/>
                </a:cxn>
              </a:cxnLst>
              <a:rect l="l" t="t" r="r" b="b"/>
              <a:pathLst>
                <a:path w="1209457" h="3091509">
                  <a:moveTo>
                    <a:pt x="0" y="0"/>
                  </a:moveTo>
                  <a:lnTo>
                    <a:pt x="501247" y="3091509"/>
                  </a:lnTo>
                  <a:lnTo>
                    <a:pt x="1209457" y="550022"/>
                  </a:lnTo>
                  <a:lnTo>
                    <a:pt x="0" y="0"/>
                  </a:lnTo>
                  <a:close/>
                </a:path>
              </a:pathLst>
            </a:custGeom>
            <a:gradFill>
              <a:gsLst>
                <a:gs pos="100000">
                  <a:schemeClr val="accent3"/>
                </a:gs>
                <a:gs pos="44000">
                  <a:schemeClr val="accent2"/>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7" name="Freeform 26"/>
            <p:cNvSpPr/>
            <p:nvPr/>
          </p:nvSpPr>
          <p:spPr>
            <a:xfrm>
              <a:off x="11488254" y="4321334"/>
              <a:ext cx="708319" cy="2552078"/>
            </a:xfrm>
            <a:custGeom>
              <a:avLst/>
              <a:gdLst>
                <a:gd name="connsiteX0" fmla="*/ 691978 w 697728"/>
                <a:gd name="connsiteY0" fmla="*/ 0 h 2520778"/>
                <a:gd name="connsiteX1" fmla="*/ 0 w 697728"/>
                <a:gd name="connsiteY1" fmla="*/ 2520778 h 2520778"/>
                <a:gd name="connsiteX2" fmla="*/ 695509 w 697728"/>
                <a:gd name="connsiteY2" fmla="*/ 2517248 h 2520778"/>
                <a:gd name="connsiteX3" fmla="*/ 691978 w 697728"/>
                <a:gd name="connsiteY3" fmla="*/ 0 h 2520778"/>
                <a:gd name="connsiteX0" fmla="*/ 691978 w 697728"/>
                <a:gd name="connsiteY0" fmla="*/ 0 h 2531370"/>
                <a:gd name="connsiteX1" fmla="*/ 0 w 697728"/>
                <a:gd name="connsiteY1" fmla="*/ 2531370 h 2531370"/>
                <a:gd name="connsiteX2" fmla="*/ 695509 w 697728"/>
                <a:gd name="connsiteY2" fmla="*/ 2517248 h 2531370"/>
                <a:gd name="connsiteX3" fmla="*/ 691978 w 697728"/>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9039 w 704789"/>
                <a:gd name="connsiteY0" fmla="*/ 0 h 2541962"/>
                <a:gd name="connsiteX1" fmla="*/ 0 w 704789"/>
                <a:gd name="connsiteY1" fmla="*/ 2541962 h 2541962"/>
                <a:gd name="connsiteX2" fmla="*/ 702570 w 704789"/>
                <a:gd name="connsiteY2" fmla="*/ 2538431 h 2541962"/>
                <a:gd name="connsiteX3" fmla="*/ 699039 w 704789"/>
                <a:gd name="connsiteY3" fmla="*/ 0 h 2541962"/>
                <a:gd name="connsiteX0" fmla="*/ 702569 w 708319"/>
                <a:gd name="connsiteY0" fmla="*/ 0 h 2538431"/>
                <a:gd name="connsiteX1" fmla="*/ 0 w 708319"/>
                <a:gd name="connsiteY1" fmla="*/ 2538431 h 2538431"/>
                <a:gd name="connsiteX2" fmla="*/ 706100 w 708319"/>
                <a:gd name="connsiteY2" fmla="*/ 2538431 h 2538431"/>
                <a:gd name="connsiteX3" fmla="*/ 702569 w 708319"/>
                <a:gd name="connsiteY3" fmla="*/ 0 h 2538431"/>
                <a:gd name="connsiteX0" fmla="*/ 667264 w 673014"/>
                <a:gd name="connsiteY0" fmla="*/ 0 h 2538431"/>
                <a:gd name="connsiteX1" fmla="*/ 0 w 673014"/>
                <a:gd name="connsiteY1" fmla="*/ 2252460 h 2538431"/>
                <a:gd name="connsiteX2" fmla="*/ 670795 w 673014"/>
                <a:gd name="connsiteY2" fmla="*/ 2538431 h 2538431"/>
                <a:gd name="connsiteX3" fmla="*/ 667264 w 673014"/>
                <a:gd name="connsiteY3" fmla="*/ 0 h 2538431"/>
                <a:gd name="connsiteX0" fmla="*/ 702569 w 708319"/>
                <a:gd name="connsiteY0" fmla="*/ 0 h 2541961"/>
                <a:gd name="connsiteX1" fmla="*/ 0 w 708319"/>
                <a:gd name="connsiteY1" fmla="*/ 2541961 h 2541961"/>
                <a:gd name="connsiteX2" fmla="*/ 706100 w 708319"/>
                <a:gd name="connsiteY2" fmla="*/ 2538431 h 2541961"/>
                <a:gd name="connsiteX3" fmla="*/ 702569 w 708319"/>
                <a:gd name="connsiteY3" fmla="*/ 0 h 2541961"/>
                <a:gd name="connsiteX0" fmla="*/ 702569 w 708319"/>
                <a:gd name="connsiteY0" fmla="*/ 0 h 2538431"/>
                <a:gd name="connsiteX1" fmla="*/ 0 w 708319"/>
                <a:gd name="connsiteY1" fmla="*/ 2534900 h 2538431"/>
                <a:gd name="connsiteX2" fmla="*/ 706100 w 708319"/>
                <a:gd name="connsiteY2" fmla="*/ 2538431 h 2538431"/>
                <a:gd name="connsiteX3" fmla="*/ 702569 w 708319"/>
                <a:gd name="connsiteY3" fmla="*/ 0 h 2538431"/>
                <a:gd name="connsiteX0" fmla="*/ 702569 w 708319"/>
                <a:gd name="connsiteY0" fmla="*/ 0 h 2548548"/>
                <a:gd name="connsiteX1" fmla="*/ 0 w 708319"/>
                <a:gd name="connsiteY1" fmla="*/ 2548548 h 2548548"/>
                <a:gd name="connsiteX2" fmla="*/ 706100 w 708319"/>
                <a:gd name="connsiteY2" fmla="*/ 2538431 h 2548548"/>
                <a:gd name="connsiteX3" fmla="*/ 702569 w 708319"/>
                <a:gd name="connsiteY3" fmla="*/ 0 h 2548548"/>
                <a:gd name="connsiteX0" fmla="*/ 702569 w 704906"/>
                <a:gd name="connsiteY0" fmla="*/ 0 h 2548548"/>
                <a:gd name="connsiteX1" fmla="*/ 0 w 704906"/>
                <a:gd name="connsiteY1" fmla="*/ 2548548 h 2548548"/>
                <a:gd name="connsiteX2" fmla="*/ 692452 w 704906"/>
                <a:gd name="connsiteY2" fmla="*/ 2538431 h 2548548"/>
                <a:gd name="connsiteX3" fmla="*/ 702569 w 704906"/>
                <a:gd name="connsiteY3" fmla="*/ 0 h 2548548"/>
                <a:gd name="connsiteX0" fmla="*/ 702569 w 708319"/>
                <a:gd name="connsiteY0" fmla="*/ 0 h 2565726"/>
                <a:gd name="connsiteX1" fmla="*/ 0 w 708319"/>
                <a:gd name="connsiteY1" fmla="*/ 2548548 h 2565726"/>
                <a:gd name="connsiteX2" fmla="*/ 706100 w 708319"/>
                <a:gd name="connsiteY2" fmla="*/ 2565726 h 2565726"/>
                <a:gd name="connsiteX3" fmla="*/ 702569 w 708319"/>
                <a:gd name="connsiteY3" fmla="*/ 0 h 2565726"/>
                <a:gd name="connsiteX0" fmla="*/ 702569 w 708319"/>
                <a:gd name="connsiteY0" fmla="*/ 0 h 2552078"/>
                <a:gd name="connsiteX1" fmla="*/ 0 w 708319"/>
                <a:gd name="connsiteY1" fmla="*/ 2548548 h 2552078"/>
                <a:gd name="connsiteX2" fmla="*/ 706100 w 708319"/>
                <a:gd name="connsiteY2" fmla="*/ 2552078 h 2552078"/>
                <a:gd name="connsiteX3" fmla="*/ 702569 w 708319"/>
                <a:gd name="connsiteY3" fmla="*/ 0 h 2552078"/>
              </a:gdLst>
              <a:ahLst/>
              <a:cxnLst>
                <a:cxn ang="0">
                  <a:pos x="connsiteX0" y="connsiteY0"/>
                </a:cxn>
                <a:cxn ang="0">
                  <a:pos x="connsiteX1" y="connsiteY1"/>
                </a:cxn>
                <a:cxn ang="0">
                  <a:pos x="connsiteX2" y="connsiteY2"/>
                </a:cxn>
                <a:cxn ang="0">
                  <a:pos x="connsiteX3" y="connsiteY3"/>
                </a:cxn>
              </a:cxnLst>
              <a:rect l="l" t="t" r="r" b="b"/>
              <a:pathLst>
                <a:path w="708319" h="2552078">
                  <a:moveTo>
                    <a:pt x="702569" y="0"/>
                  </a:moveTo>
                  <a:lnTo>
                    <a:pt x="0" y="2548548"/>
                  </a:lnTo>
                  <a:lnTo>
                    <a:pt x="706100" y="2552078"/>
                  </a:lnTo>
                  <a:cubicBezTo>
                    <a:pt x="708454" y="1710642"/>
                    <a:pt x="710807" y="834375"/>
                    <a:pt x="702569" y="0"/>
                  </a:cubicBezTo>
                  <a:close/>
                </a:path>
              </a:pathLst>
            </a:custGeom>
            <a:gradFill>
              <a:gsLst>
                <a:gs pos="100000">
                  <a:schemeClr val="accent3"/>
                </a:gs>
                <a:gs pos="44000">
                  <a:schemeClr val="accent2"/>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0" name="Freeform 29"/>
            <p:cNvSpPr/>
            <p:nvPr/>
          </p:nvSpPr>
          <p:spPr>
            <a:xfrm>
              <a:off x="-9845" y="-7221"/>
              <a:ext cx="3120462" cy="1793286"/>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 name="connsiteX0" fmla="*/ 0 w 3081965"/>
                <a:gd name="connsiteY0" fmla="*/ 0 h 1775900"/>
                <a:gd name="connsiteX1" fmla="*/ 1036790 w 3081965"/>
                <a:gd name="connsiteY1" fmla="*/ 1773715 h 1775900"/>
                <a:gd name="connsiteX2" fmla="*/ 3081965 w 3081965"/>
                <a:gd name="connsiteY2" fmla="*/ 1775900 h 1775900"/>
                <a:gd name="connsiteX3" fmla="*/ 0 w 3081965"/>
                <a:gd name="connsiteY3" fmla="*/ 0 h 1775900"/>
                <a:gd name="connsiteX0" fmla="*/ 0 w 3086728"/>
                <a:gd name="connsiteY0" fmla="*/ 0 h 1775900"/>
                <a:gd name="connsiteX1" fmla="*/ 1036790 w 3086728"/>
                <a:gd name="connsiteY1" fmla="*/ 1773715 h 1775900"/>
                <a:gd name="connsiteX2" fmla="*/ 3086728 w 3086728"/>
                <a:gd name="connsiteY2" fmla="*/ 1775900 h 1775900"/>
                <a:gd name="connsiteX3" fmla="*/ 0 w 3086728"/>
                <a:gd name="connsiteY3" fmla="*/ 0 h 1775900"/>
                <a:gd name="connsiteX0" fmla="*/ 0 w 3091491"/>
                <a:gd name="connsiteY0" fmla="*/ 0 h 1799713"/>
                <a:gd name="connsiteX1" fmla="*/ 1036790 w 3091491"/>
                <a:gd name="connsiteY1" fmla="*/ 1773715 h 1799713"/>
                <a:gd name="connsiteX2" fmla="*/ 3091491 w 3091491"/>
                <a:gd name="connsiteY2" fmla="*/ 1799713 h 1799713"/>
                <a:gd name="connsiteX3" fmla="*/ 0 w 3091491"/>
                <a:gd name="connsiteY3" fmla="*/ 0 h 1799713"/>
                <a:gd name="connsiteX0" fmla="*/ 0 w 3120066"/>
                <a:gd name="connsiteY0" fmla="*/ 0 h 1799713"/>
                <a:gd name="connsiteX1" fmla="*/ 1036790 w 3120066"/>
                <a:gd name="connsiteY1" fmla="*/ 1773715 h 1799713"/>
                <a:gd name="connsiteX2" fmla="*/ 3120066 w 3120066"/>
                <a:gd name="connsiteY2" fmla="*/ 1799713 h 1799713"/>
                <a:gd name="connsiteX3" fmla="*/ 0 w 3120066"/>
                <a:gd name="connsiteY3" fmla="*/ 0 h 1799713"/>
                <a:gd name="connsiteX0" fmla="*/ 0 w 3120066"/>
                <a:gd name="connsiteY0" fmla="*/ 0 h 1799713"/>
                <a:gd name="connsiteX1" fmla="*/ 1019730 w 3120066"/>
                <a:gd name="connsiteY1" fmla="*/ 1773715 h 1799713"/>
                <a:gd name="connsiteX2" fmla="*/ 3120066 w 3120066"/>
                <a:gd name="connsiteY2" fmla="*/ 1799713 h 1799713"/>
                <a:gd name="connsiteX3" fmla="*/ 0 w 3120066"/>
                <a:gd name="connsiteY3" fmla="*/ 0 h 1799713"/>
                <a:gd name="connsiteX0" fmla="*/ 0 w 3133714"/>
                <a:gd name="connsiteY0" fmla="*/ 0 h 1799713"/>
                <a:gd name="connsiteX1" fmla="*/ 1033378 w 3133714"/>
                <a:gd name="connsiteY1" fmla="*/ 1773715 h 1799713"/>
                <a:gd name="connsiteX2" fmla="*/ 3133714 w 3133714"/>
                <a:gd name="connsiteY2" fmla="*/ 1799713 h 1799713"/>
                <a:gd name="connsiteX3" fmla="*/ 0 w 3133714"/>
                <a:gd name="connsiteY3" fmla="*/ 0 h 1799713"/>
                <a:gd name="connsiteX0" fmla="*/ 0 w 3140538"/>
                <a:gd name="connsiteY0" fmla="*/ 0 h 1799713"/>
                <a:gd name="connsiteX1" fmla="*/ 1040202 w 3140538"/>
                <a:gd name="connsiteY1" fmla="*/ 1773715 h 1799713"/>
                <a:gd name="connsiteX2" fmla="*/ 3140538 w 3140538"/>
                <a:gd name="connsiteY2" fmla="*/ 1799713 h 1799713"/>
                <a:gd name="connsiteX3" fmla="*/ 0 w 3140538"/>
                <a:gd name="connsiteY3" fmla="*/ 0 h 1799713"/>
                <a:gd name="connsiteX0" fmla="*/ 0 w 3126890"/>
                <a:gd name="connsiteY0" fmla="*/ 0 h 1786065"/>
                <a:gd name="connsiteX1" fmla="*/ 1040202 w 3126890"/>
                <a:gd name="connsiteY1" fmla="*/ 1773715 h 1786065"/>
                <a:gd name="connsiteX2" fmla="*/ 3126890 w 3126890"/>
                <a:gd name="connsiteY2" fmla="*/ 1786065 h 1786065"/>
                <a:gd name="connsiteX3" fmla="*/ 0 w 3126890"/>
                <a:gd name="connsiteY3" fmla="*/ 0 h 1786065"/>
                <a:gd name="connsiteX0" fmla="*/ 0 w 3113242"/>
                <a:gd name="connsiteY0" fmla="*/ 0 h 1782653"/>
                <a:gd name="connsiteX1" fmla="*/ 1026554 w 3113242"/>
                <a:gd name="connsiteY1" fmla="*/ 1770303 h 1782653"/>
                <a:gd name="connsiteX2" fmla="*/ 3113242 w 3113242"/>
                <a:gd name="connsiteY2" fmla="*/ 1782653 h 1782653"/>
                <a:gd name="connsiteX3" fmla="*/ 0 w 3113242"/>
                <a:gd name="connsiteY3" fmla="*/ 0 h 1782653"/>
                <a:gd name="connsiteX0" fmla="*/ 0 w 3123478"/>
                <a:gd name="connsiteY0" fmla="*/ 0 h 1782653"/>
                <a:gd name="connsiteX1" fmla="*/ 1036790 w 3123478"/>
                <a:gd name="connsiteY1" fmla="*/ 1770303 h 1782653"/>
                <a:gd name="connsiteX2" fmla="*/ 3123478 w 3123478"/>
                <a:gd name="connsiteY2" fmla="*/ 1782653 h 1782653"/>
                <a:gd name="connsiteX3" fmla="*/ 0 w 3123478"/>
                <a:gd name="connsiteY3" fmla="*/ 0 h 1782653"/>
                <a:gd name="connsiteX0" fmla="*/ 0 w 3109830"/>
                <a:gd name="connsiteY0" fmla="*/ 0 h 1782653"/>
                <a:gd name="connsiteX1" fmla="*/ 1036790 w 3109830"/>
                <a:gd name="connsiteY1" fmla="*/ 1770303 h 1782653"/>
                <a:gd name="connsiteX2" fmla="*/ 3109830 w 3109830"/>
                <a:gd name="connsiteY2" fmla="*/ 1782653 h 1782653"/>
                <a:gd name="connsiteX3" fmla="*/ 0 w 3109830"/>
                <a:gd name="connsiteY3" fmla="*/ 0 h 1782653"/>
                <a:gd name="connsiteX0" fmla="*/ 0 w 3120462"/>
                <a:gd name="connsiteY0" fmla="*/ 0 h 1793286"/>
                <a:gd name="connsiteX1" fmla="*/ 1047422 w 3120462"/>
                <a:gd name="connsiteY1" fmla="*/ 1780936 h 1793286"/>
                <a:gd name="connsiteX2" fmla="*/ 3120462 w 3120462"/>
                <a:gd name="connsiteY2" fmla="*/ 1793286 h 1793286"/>
                <a:gd name="connsiteX3" fmla="*/ 0 w 3120462"/>
                <a:gd name="connsiteY3" fmla="*/ 0 h 1793286"/>
              </a:gdLst>
              <a:ahLst/>
              <a:cxnLst>
                <a:cxn ang="0">
                  <a:pos x="connsiteX0" y="connsiteY0"/>
                </a:cxn>
                <a:cxn ang="0">
                  <a:pos x="connsiteX1" y="connsiteY1"/>
                </a:cxn>
                <a:cxn ang="0">
                  <a:pos x="connsiteX2" y="connsiteY2"/>
                </a:cxn>
                <a:cxn ang="0">
                  <a:pos x="connsiteX3" y="connsiteY3"/>
                </a:cxn>
              </a:cxnLst>
              <a:rect l="l" t="t" r="r" b="b"/>
              <a:pathLst>
                <a:path w="3120462" h="1793286">
                  <a:moveTo>
                    <a:pt x="0" y="0"/>
                  </a:moveTo>
                  <a:lnTo>
                    <a:pt x="1047422" y="1780936"/>
                  </a:lnTo>
                  <a:lnTo>
                    <a:pt x="3120462" y="1793286"/>
                  </a:lnTo>
                  <a:lnTo>
                    <a:pt x="0" y="0"/>
                  </a:lnTo>
                  <a:close/>
                </a:path>
              </a:pathLst>
            </a:custGeom>
            <a:gradFill>
              <a:gsLst>
                <a:gs pos="62000">
                  <a:schemeClr val="accent3"/>
                </a:gs>
                <a:gs pos="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1" name="Freeform 30"/>
            <p:cNvSpPr/>
            <p:nvPr/>
          </p:nvSpPr>
          <p:spPr>
            <a:xfrm>
              <a:off x="-3295" y="1769807"/>
              <a:ext cx="1407341" cy="5098422"/>
            </a:xfrm>
            <a:custGeom>
              <a:avLst/>
              <a:gdLst>
                <a:gd name="connsiteX0" fmla="*/ 1026488 w 1398147"/>
                <a:gd name="connsiteY0" fmla="*/ 0 h 5073445"/>
                <a:gd name="connsiteX1" fmla="*/ 1398147 w 1398147"/>
                <a:gd name="connsiteY1" fmla="*/ 1875995 h 5073445"/>
                <a:gd name="connsiteX2" fmla="*/ 0 w 1398147"/>
                <a:gd name="connsiteY2" fmla="*/ 5073445 h 5073445"/>
                <a:gd name="connsiteX3" fmla="*/ 1026488 w 1398147"/>
                <a:gd name="connsiteY3" fmla="*/ 0 h 5073445"/>
                <a:gd name="connsiteX0" fmla="*/ 1032388 w 1398147"/>
                <a:gd name="connsiteY0" fmla="*/ 0 h 5055747"/>
                <a:gd name="connsiteX1" fmla="*/ 1398147 w 1398147"/>
                <a:gd name="connsiteY1" fmla="*/ 1858297 h 5055747"/>
                <a:gd name="connsiteX2" fmla="*/ 0 w 1398147"/>
                <a:gd name="connsiteY2" fmla="*/ 5055747 h 5055747"/>
                <a:gd name="connsiteX3" fmla="*/ 1032388 w 1398147"/>
                <a:gd name="connsiteY3" fmla="*/ 0 h 5055747"/>
                <a:gd name="connsiteX0" fmla="*/ 1032388 w 1398147"/>
                <a:gd name="connsiteY0" fmla="*/ 0 h 5061646"/>
                <a:gd name="connsiteX1" fmla="*/ 1398147 w 1398147"/>
                <a:gd name="connsiteY1" fmla="*/ 1864196 h 5061646"/>
                <a:gd name="connsiteX2" fmla="*/ 0 w 1398147"/>
                <a:gd name="connsiteY2" fmla="*/ 5061646 h 5061646"/>
                <a:gd name="connsiteX3" fmla="*/ 1032388 w 1398147"/>
                <a:gd name="connsiteY3" fmla="*/ 0 h 5061646"/>
                <a:gd name="connsiteX0" fmla="*/ 1032388 w 1398147"/>
                <a:gd name="connsiteY0" fmla="*/ 0 h 5079344"/>
                <a:gd name="connsiteX1" fmla="*/ 1398147 w 1398147"/>
                <a:gd name="connsiteY1" fmla="*/ 1881894 h 5079344"/>
                <a:gd name="connsiteX2" fmla="*/ 0 w 1398147"/>
                <a:gd name="connsiteY2" fmla="*/ 5079344 h 5079344"/>
                <a:gd name="connsiteX3" fmla="*/ 1032388 w 1398147"/>
                <a:gd name="connsiteY3" fmla="*/ 0 h 5079344"/>
                <a:gd name="connsiteX0" fmla="*/ 1032388 w 1398147"/>
                <a:gd name="connsiteY0" fmla="*/ 0 h 5089936"/>
                <a:gd name="connsiteX1" fmla="*/ 1398147 w 1398147"/>
                <a:gd name="connsiteY1" fmla="*/ 1881894 h 5089936"/>
                <a:gd name="connsiteX2" fmla="*/ 0 w 1398147"/>
                <a:gd name="connsiteY2" fmla="*/ 5089936 h 5089936"/>
                <a:gd name="connsiteX3" fmla="*/ 1032388 w 1398147"/>
                <a:gd name="connsiteY3" fmla="*/ 0 h 5089936"/>
                <a:gd name="connsiteX0" fmla="*/ 1039450 w 1405209"/>
                <a:gd name="connsiteY0" fmla="*/ 0 h 5089936"/>
                <a:gd name="connsiteX1" fmla="*/ 1405209 w 1405209"/>
                <a:gd name="connsiteY1" fmla="*/ 1881894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8890 w 1405209"/>
                <a:gd name="connsiteY3" fmla="*/ 5081754 h 5089936"/>
                <a:gd name="connsiteX4" fmla="*/ 1039450 w 1405209"/>
                <a:gd name="connsiteY4" fmla="*/ 0 h 5089936"/>
                <a:gd name="connsiteX0" fmla="*/ 1041582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41582 w 1407341"/>
                <a:gd name="connsiteY4" fmla="*/ 0 h 5098422"/>
                <a:gd name="connsiteX0" fmla="*/ 1034758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34758 w 1407341"/>
                <a:gd name="connsiteY4" fmla="*/ 0 h 509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341" h="5098422">
                  <a:moveTo>
                    <a:pt x="1034758" y="0"/>
                  </a:moveTo>
                  <a:lnTo>
                    <a:pt x="1407341" y="1891419"/>
                  </a:lnTo>
                  <a:lnTo>
                    <a:pt x="2132" y="5089936"/>
                  </a:lnTo>
                  <a:cubicBezTo>
                    <a:pt x="5095" y="5083774"/>
                    <a:pt x="-2244" y="5103370"/>
                    <a:pt x="719" y="5097208"/>
                  </a:cubicBezTo>
                  <a:lnTo>
                    <a:pt x="1034758" y="0"/>
                  </a:lnTo>
                  <a:close/>
                </a:path>
              </a:pathLst>
            </a:custGeom>
            <a:gradFill>
              <a:gsLst>
                <a:gs pos="100000">
                  <a:schemeClr val="accent3"/>
                </a:gs>
                <a:gs pos="44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2" name="Freeform 31"/>
            <p:cNvSpPr/>
            <p:nvPr/>
          </p:nvSpPr>
          <p:spPr>
            <a:xfrm>
              <a:off x="8694845" y="2426110"/>
              <a:ext cx="2293341" cy="4440419"/>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 name="connsiteX0" fmla="*/ 958645 w 2269487"/>
                <a:gd name="connsiteY0" fmla="*/ 0 h 4424516"/>
                <a:gd name="connsiteX1" fmla="*/ 2269487 w 2269487"/>
                <a:gd name="connsiteY1" fmla="*/ 1388112 h 4424516"/>
                <a:gd name="connsiteX2" fmla="*/ 0 w 2269487"/>
                <a:gd name="connsiteY2" fmla="*/ 4424516 h 4424516"/>
                <a:gd name="connsiteX3" fmla="*/ 958645 w 2269487"/>
                <a:gd name="connsiteY3" fmla="*/ 0 h 4424516"/>
                <a:gd name="connsiteX0" fmla="*/ 982499 w 2293341"/>
                <a:gd name="connsiteY0" fmla="*/ 0 h 4440419"/>
                <a:gd name="connsiteX1" fmla="*/ 2293341 w 2293341"/>
                <a:gd name="connsiteY1" fmla="*/ 1388112 h 4440419"/>
                <a:gd name="connsiteX2" fmla="*/ 0 w 2293341"/>
                <a:gd name="connsiteY2" fmla="*/ 4440419 h 4440419"/>
                <a:gd name="connsiteX3" fmla="*/ 982499 w 2293341"/>
                <a:gd name="connsiteY3" fmla="*/ 0 h 4440419"/>
              </a:gdLst>
              <a:ahLst/>
              <a:cxnLst>
                <a:cxn ang="0">
                  <a:pos x="connsiteX0" y="connsiteY0"/>
                </a:cxn>
                <a:cxn ang="0">
                  <a:pos x="connsiteX1" y="connsiteY1"/>
                </a:cxn>
                <a:cxn ang="0">
                  <a:pos x="connsiteX2" y="connsiteY2"/>
                </a:cxn>
                <a:cxn ang="0">
                  <a:pos x="connsiteX3" y="connsiteY3"/>
                </a:cxn>
              </a:cxnLst>
              <a:rect l="l" t="t" r="r" b="b"/>
              <a:pathLst>
                <a:path w="2293341" h="4440419">
                  <a:moveTo>
                    <a:pt x="982499" y="0"/>
                  </a:moveTo>
                  <a:lnTo>
                    <a:pt x="2293341" y="1388112"/>
                  </a:lnTo>
                  <a:lnTo>
                    <a:pt x="0" y="4440419"/>
                  </a:lnTo>
                  <a:lnTo>
                    <a:pt x="982499" y="0"/>
                  </a:lnTo>
                  <a:close/>
                </a:path>
              </a:pathLst>
            </a:custGeom>
            <a:gradFill>
              <a:gsLst>
                <a:gs pos="100000">
                  <a:schemeClr val="accent3"/>
                </a:gs>
                <a:gs pos="29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3" name="Freeform 32"/>
            <p:cNvSpPr/>
            <p:nvPr/>
          </p:nvSpPr>
          <p:spPr>
            <a:xfrm>
              <a:off x="9669015" y="1066800"/>
              <a:ext cx="2530575" cy="2762250"/>
            </a:xfrm>
            <a:custGeom>
              <a:avLst/>
              <a:gdLst>
                <a:gd name="connsiteX0" fmla="*/ 2481262 w 2481262"/>
                <a:gd name="connsiteY0" fmla="*/ 0 h 2762250"/>
                <a:gd name="connsiteX1" fmla="*/ 0 w 2481262"/>
                <a:gd name="connsiteY1" fmla="*/ 1371600 h 2762250"/>
                <a:gd name="connsiteX2" fmla="*/ 1309687 w 2481262"/>
                <a:gd name="connsiteY2" fmla="*/ 2762250 h 2762250"/>
                <a:gd name="connsiteX3" fmla="*/ 2481262 w 2481262"/>
                <a:gd name="connsiteY3" fmla="*/ 0 h 2762250"/>
                <a:gd name="connsiteX0" fmla="*/ 2481262 w 2481262"/>
                <a:gd name="connsiteY0" fmla="*/ 0 h 2762250"/>
                <a:gd name="connsiteX1" fmla="*/ 0 w 2481262"/>
                <a:gd name="connsiteY1" fmla="*/ 1371600 h 2762250"/>
                <a:gd name="connsiteX2" fmla="*/ 1292857 w 2481262"/>
                <a:gd name="connsiteY2" fmla="*/ 2762250 h 2762250"/>
                <a:gd name="connsiteX3" fmla="*/ 2481262 w 2481262"/>
                <a:gd name="connsiteY3" fmla="*/ 0 h 2762250"/>
                <a:gd name="connsiteX0" fmla="*/ 2509311 w 2509311"/>
                <a:gd name="connsiteY0" fmla="*/ 0 h 2762250"/>
                <a:gd name="connsiteX1" fmla="*/ 0 w 2509311"/>
                <a:gd name="connsiteY1" fmla="*/ 1354771 h 2762250"/>
                <a:gd name="connsiteX2" fmla="*/ 1320906 w 2509311"/>
                <a:gd name="connsiteY2" fmla="*/ 2762250 h 2762250"/>
                <a:gd name="connsiteX3" fmla="*/ 2509311 w 2509311"/>
                <a:gd name="connsiteY3" fmla="*/ 0 h 2762250"/>
                <a:gd name="connsiteX0" fmla="*/ 2519943 w 2519943"/>
                <a:gd name="connsiteY0" fmla="*/ 0 h 2762250"/>
                <a:gd name="connsiteX1" fmla="*/ 0 w 2519943"/>
                <a:gd name="connsiteY1" fmla="*/ 1354771 h 2762250"/>
                <a:gd name="connsiteX2" fmla="*/ 1320906 w 2519943"/>
                <a:gd name="connsiteY2" fmla="*/ 2762250 h 2762250"/>
                <a:gd name="connsiteX3" fmla="*/ 2519943 w 2519943"/>
                <a:gd name="connsiteY3" fmla="*/ 0 h 2762250"/>
                <a:gd name="connsiteX0" fmla="*/ 2530575 w 2530575"/>
                <a:gd name="connsiteY0" fmla="*/ 0 h 2762250"/>
                <a:gd name="connsiteX1" fmla="*/ 0 w 2530575"/>
                <a:gd name="connsiteY1" fmla="*/ 1354771 h 2762250"/>
                <a:gd name="connsiteX2" fmla="*/ 1320906 w 2530575"/>
                <a:gd name="connsiteY2" fmla="*/ 2762250 h 2762250"/>
                <a:gd name="connsiteX3" fmla="*/ 2530575 w 2530575"/>
                <a:gd name="connsiteY3" fmla="*/ 0 h 2762250"/>
              </a:gdLst>
              <a:ahLst/>
              <a:cxnLst>
                <a:cxn ang="0">
                  <a:pos x="connsiteX0" y="connsiteY0"/>
                </a:cxn>
                <a:cxn ang="0">
                  <a:pos x="connsiteX1" y="connsiteY1"/>
                </a:cxn>
                <a:cxn ang="0">
                  <a:pos x="connsiteX2" y="connsiteY2"/>
                </a:cxn>
                <a:cxn ang="0">
                  <a:pos x="connsiteX3" y="connsiteY3"/>
                </a:cxn>
              </a:cxnLst>
              <a:rect l="l" t="t" r="r" b="b"/>
              <a:pathLst>
                <a:path w="2530575" h="2762250">
                  <a:moveTo>
                    <a:pt x="2530575" y="0"/>
                  </a:moveTo>
                  <a:lnTo>
                    <a:pt x="0" y="1354771"/>
                  </a:lnTo>
                  <a:lnTo>
                    <a:pt x="1320906" y="2762250"/>
                  </a:lnTo>
                  <a:lnTo>
                    <a:pt x="2530575"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4" name="Freeform 33"/>
            <p:cNvSpPr/>
            <p:nvPr/>
          </p:nvSpPr>
          <p:spPr>
            <a:xfrm>
              <a:off x="3317358" y="-5316"/>
              <a:ext cx="4354033" cy="1222744"/>
            </a:xfrm>
            <a:custGeom>
              <a:avLst/>
              <a:gdLst>
                <a:gd name="connsiteX0" fmla="*/ 0 w 4354033"/>
                <a:gd name="connsiteY0" fmla="*/ 0 h 1217428"/>
                <a:gd name="connsiteX1" fmla="*/ 3067493 w 4354033"/>
                <a:gd name="connsiteY1" fmla="*/ 10632 h 1217428"/>
                <a:gd name="connsiteX2" fmla="*/ 4354033 w 4354033"/>
                <a:gd name="connsiteY2" fmla="*/ 1217428 h 1217428"/>
                <a:gd name="connsiteX3" fmla="*/ 0 w 4354033"/>
                <a:gd name="connsiteY3" fmla="*/ 0 h 1217428"/>
                <a:gd name="connsiteX0" fmla="*/ 0 w 4354033"/>
                <a:gd name="connsiteY0" fmla="*/ 0 h 1217428"/>
                <a:gd name="connsiteX1" fmla="*/ 3088758 w 4354033"/>
                <a:gd name="connsiteY1" fmla="*/ 10632 h 1217428"/>
                <a:gd name="connsiteX2" fmla="*/ 4354033 w 4354033"/>
                <a:gd name="connsiteY2" fmla="*/ 1217428 h 1217428"/>
                <a:gd name="connsiteX3" fmla="*/ 0 w 4354033"/>
                <a:gd name="connsiteY3" fmla="*/ 0 h 1217428"/>
                <a:gd name="connsiteX0" fmla="*/ 0 w 4375298"/>
                <a:gd name="connsiteY0" fmla="*/ 0 h 1217428"/>
                <a:gd name="connsiteX1" fmla="*/ 3088758 w 4375298"/>
                <a:gd name="connsiteY1" fmla="*/ 10632 h 1217428"/>
                <a:gd name="connsiteX2" fmla="*/ 4375298 w 4375298"/>
                <a:gd name="connsiteY2" fmla="*/ 1217428 h 1217428"/>
                <a:gd name="connsiteX3" fmla="*/ 0 w 4375298"/>
                <a:gd name="connsiteY3" fmla="*/ 0 h 1217428"/>
                <a:gd name="connsiteX0" fmla="*/ 0 w 4364666"/>
                <a:gd name="connsiteY0" fmla="*/ 0 h 1217428"/>
                <a:gd name="connsiteX1" fmla="*/ 3088758 w 4364666"/>
                <a:gd name="connsiteY1" fmla="*/ 10632 h 1217428"/>
                <a:gd name="connsiteX2" fmla="*/ 4364666 w 4364666"/>
                <a:gd name="connsiteY2" fmla="*/ 1217428 h 1217428"/>
                <a:gd name="connsiteX3" fmla="*/ 0 w 4364666"/>
                <a:gd name="connsiteY3" fmla="*/ 0 h 1217428"/>
                <a:gd name="connsiteX0" fmla="*/ 0 w 4354033"/>
                <a:gd name="connsiteY0" fmla="*/ 0 h 1222744"/>
                <a:gd name="connsiteX1" fmla="*/ 3088758 w 4354033"/>
                <a:gd name="connsiteY1" fmla="*/ 10632 h 1222744"/>
                <a:gd name="connsiteX2" fmla="*/ 4354033 w 4354033"/>
                <a:gd name="connsiteY2" fmla="*/ 1222744 h 1222744"/>
                <a:gd name="connsiteX3" fmla="*/ 0 w 4354033"/>
                <a:gd name="connsiteY3" fmla="*/ 0 h 1222744"/>
                <a:gd name="connsiteX0" fmla="*/ 0 w 4354033"/>
                <a:gd name="connsiteY0" fmla="*/ 5317 h 1228061"/>
                <a:gd name="connsiteX1" fmla="*/ 3083442 w 4354033"/>
                <a:gd name="connsiteY1" fmla="*/ 0 h 1228061"/>
                <a:gd name="connsiteX2" fmla="*/ 4354033 w 4354033"/>
                <a:gd name="connsiteY2" fmla="*/ 1228061 h 1228061"/>
                <a:gd name="connsiteX3" fmla="*/ 0 w 4354033"/>
                <a:gd name="connsiteY3" fmla="*/ 5317 h 1228061"/>
                <a:gd name="connsiteX0" fmla="*/ 0 w 4354033"/>
                <a:gd name="connsiteY0" fmla="*/ 0 h 1222744"/>
                <a:gd name="connsiteX1" fmla="*/ 3094074 w 4354033"/>
                <a:gd name="connsiteY1" fmla="*/ 5315 h 1222744"/>
                <a:gd name="connsiteX2" fmla="*/ 4354033 w 4354033"/>
                <a:gd name="connsiteY2" fmla="*/ 1222744 h 1222744"/>
                <a:gd name="connsiteX3" fmla="*/ 0 w 4354033"/>
                <a:gd name="connsiteY3" fmla="*/ 0 h 1222744"/>
              </a:gdLst>
              <a:ahLst/>
              <a:cxnLst>
                <a:cxn ang="0">
                  <a:pos x="connsiteX0" y="connsiteY0"/>
                </a:cxn>
                <a:cxn ang="0">
                  <a:pos x="connsiteX1" y="connsiteY1"/>
                </a:cxn>
                <a:cxn ang="0">
                  <a:pos x="connsiteX2" y="connsiteY2"/>
                </a:cxn>
                <a:cxn ang="0">
                  <a:pos x="connsiteX3" y="connsiteY3"/>
                </a:cxn>
              </a:cxnLst>
              <a:rect l="l" t="t" r="r" b="b"/>
              <a:pathLst>
                <a:path w="4354033" h="1222744">
                  <a:moveTo>
                    <a:pt x="0" y="0"/>
                  </a:moveTo>
                  <a:lnTo>
                    <a:pt x="3094074" y="5315"/>
                  </a:lnTo>
                  <a:lnTo>
                    <a:pt x="4354033" y="1222744"/>
                  </a:lnTo>
                  <a:lnTo>
                    <a:pt x="0" y="0"/>
                  </a:lnTo>
                  <a:close/>
                </a:path>
              </a:pathLst>
            </a:custGeom>
            <a:gradFill>
              <a:gsLst>
                <a:gs pos="100000">
                  <a:schemeClr val="accent3"/>
                </a:gs>
                <a:gs pos="8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reeform 34"/>
            <p:cNvSpPr/>
            <p:nvPr/>
          </p:nvSpPr>
          <p:spPr>
            <a:xfrm>
              <a:off x="8690614" y="3782459"/>
              <a:ext cx="2818349" cy="3087424"/>
            </a:xfrm>
            <a:custGeom>
              <a:avLst/>
              <a:gdLst>
                <a:gd name="connsiteX0" fmla="*/ 2270113 w 2753791"/>
                <a:gd name="connsiteY0" fmla="*/ 0 h 3029171"/>
                <a:gd name="connsiteX1" fmla="*/ 0 w 2753791"/>
                <a:gd name="connsiteY1" fmla="*/ 3025640 h 3029171"/>
                <a:gd name="connsiteX2" fmla="*/ 2753791 w 2753791"/>
                <a:gd name="connsiteY2" fmla="*/ 3029171 h 3029171"/>
                <a:gd name="connsiteX3" fmla="*/ 2270113 w 2753791"/>
                <a:gd name="connsiteY3" fmla="*/ 0 h 3029171"/>
                <a:gd name="connsiteX0" fmla="*/ 2247810 w 2753791"/>
                <a:gd name="connsiteY0" fmla="*/ 0 h 3073776"/>
                <a:gd name="connsiteX1" fmla="*/ 0 w 2753791"/>
                <a:gd name="connsiteY1" fmla="*/ 3070245 h 3073776"/>
                <a:gd name="connsiteX2" fmla="*/ 2753791 w 2753791"/>
                <a:gd name="connsiteY2" fmla="*/ 3073776 h 3073776"/>
                <a:gd name="connsiteX3" fmla="*/ 2247810 w 2753791"/>
                <a:gd name="connsiteY3" fmla="*/ 0 h 3073776"/>
                <a:gd name="connsiteX0" fmla="*/ 2311420 w 2817401"/>
                <a:gd name="connsiteY0" fmla="*/ 0 h 3073776"/>
                <a:gd name="connsiteX1" fmla="*/ 0 w 2817401"/>
                <a:gd name="connsiteY1" fmla="*/ 3062294 h 3073776"/>
                <a:gd name="connsiteX2" fmla="*/ 2817401 w 2817401"/>
                <a:gd name="connsiteY2" fmla="*/ 3073776 h 3073776"/>
                <a:gd name="connsiteX3" fmla="*/ 2311420 w 2817401"/>
                <a:gd name="connsiteY3" fmla="*/ 0 h 3073776"/>
                <a:gd name="connsiteX0" fmla="*/ 2311420 w 2817401"/>
                <a:gd name="connsiteY0" fmla="*/ 0 h 3089589"/>
                <a:gd name="connsiteX1" fmla="*/ 0 w 2817401"/>
                <a:gd name="connsiteY1" fmla="*/ 3089589 h 3089589"/>
                <a:gd name="connsiteX2" fmla="*/ 2817401 w 2817401"/>
                <a:gd name="connsiteY2" fmla="*/ 3073776 h 3089589"/>
                <a:gd name="connsiteX3" fmla="*/ 2311420 w 2817401"/>
                <a:gd name="connsiteY3" fmla="*/ 0 h 3089589"/>
                <a:gd name="connsiteX0" fmla="*/ 2306657 w 2812638"/>
                <a:gd name="connsiteY0" fmla="*/ 0 h 3089589"/>
                <a:gd name="connsiteX1" fmla="*/ 0 w 2812638"/>
                <a:gd name="connsiteY1" fmla="*/ 3089589 h 3089589"/>
                <a:gd name="connsiteX2" fmla="*/ 2812638 w 2812638"/>
                <a:gd name="connsiteY2" fmla="*/ 3073776 h 3089589"/>
                <a:gd name="connsiteX3" fmla="*/ 2306657 w 2812638"/>
                <a:gd name="connsiteY3" fmla="*/ 0 h 3089589"/>
                <a:gd name="connsiteX0" fmla="*/ 2306657 w 2812638"/>
                <a:gd name="connsiteY0" fmla="*/ 0 h 3084826"/>
                <a:gd name="connsiteX1" fmla="*/ 0 w 2812638"/>
                <a:gd name="connsiteY1" fmla="*/ 3084826 h 3084826"/>
                <a:gd name="connsiteX2" fmla="*/ 2812638 w 2812638"/>
                <a:gd name="connsiteY2" fmla="*/ 3073776 h 3084826"/>
                <a:gd name="connsiteX3" fmla="*/ 2306657 w 2812638"/>
                <a:gd name="connsiteY3" fmla="*/ 0 h 3084826"/>
                <a:gd name="connsiteX0" fmla="*/ 2292370 w 2798351"/>
                <a:gd name="connsiteY0" fmla="*/ 0 h 3084826"/>
                <a:gd name="connsiteX1" fmla="*/ 0 w 2798351"/>
                <a:gd name="connsiteY1" fmla="*/ 3084826 h 3084826"/>
                <a:gd name="connsiteX2" fmla="*/ 2798351 w 2798351"/>
                <a:gd name="connsiteY2" fmla="*/ 3073776 h 3084826"/>
                <a:gd name="connsiteX3" fmla="*/ 2292370 w 279835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311420 w 2804701"/>
                <a:gd name="connsiteY0" fmla="*/ 0 h 3084826"/>
                <a:gd name="connsiteX1" fmla="*/ 0 w 2804701"/>
                <a:gd name="connsiteY1" fmla="*/ 3084826 h 3084826"/>
                <a:gd name="connsiteX2" fmla="*/ 2804701 w 2804701"/>
                <a:gd name="connsiteY2" fmla="*/ 3073776 h 3084826"/>
                <a:gd name="connsiteX3" fmla="*/ 2311420 w 2804701"/>
                <a:gd name="connsiteY3" fmla="*/ 0 h 3084826"/>
                <a:gd name="connsiteX0" fmla="*/ 2311420 w 2804701"/>
                <a:gd name="connsiteY0" fmla="*/ 0 h 3087424"/>
                <a:gd name="connsiteX1" fmla="*/ 0 w 2804701"/>
                <a:gd name="connsiteY1" fmla="*/ 3084826 h 3087424"/>
                <a:gd name="connsiteX2" fmla="*/ 2804701 w 2804701"/>
                <a:gd name="connsiteY2" fmla="*/ 3087424 h 3087424"/>
                <a:gd name="connsiteX3" fmla="*/ 2311420 w 2804701"/>
                <a:gd name="connsiteY3" fmla="*/ 0 h 3087424"/>
                <a:gd name="connsiteX0" fmla="*/ 2311420 w 2818349"/>
                <a:gd name="connsiteY0" fmla="*/ 0 h 3087424"/>
                <a:gd name="connsiteX1" fmla="*/ 0 w 2818349"/>
                <a:gd name="connsiteY1" fmla="*/ 3084826 h 3087424"/>
                <a:gd name="connsiteX2" fmla="*/ 2818349 w 2818349"/>
                <a:gd name="connsiteY2" fmla="*/ 3087424 h 3087424"/>
                <a:gd name="connsiteX3" fmla="*/ 2311420 w 2818349"/>
                <a:gd name="connsiteY3" fmla="*/ 0 h 3087424"/>
              </a:gdLst>
              <a:ahLst/>
              <a:cxnLst>
                <a:cxn ang="0">
                  <a:pos x="connsiteX0" y="connsiteY0"/>
                </a:cxn>
                <a:cxn ang="0">
                  <a:pos x="connsiteX1" y="connsiteY1"/>
                </a:cxn>
                <a:cxn ang="0">
                  <a:pos x="connsiteX2" y="connsiteY2"/>
                </a:cxn>
                <a:cxn ang="0">
                  <a:pos x="connsiteX3" y="connsiteY3"/>
                </a:cxn>
              </a:cxnLst>
              <a:rect l="l" t="t" r="r" b="b"/>
              <a:pathLst>
                <a:path w="2818349" h="3087424">
                  <a:moveTo>
                    <a:pt x="2311420" y="0"/>
                  </a:moveTo>
                  <a:lnTo>
                    <a:pt x="0" y="3084826"/>
                  </a:lnTo>
                  <a:lnTo>
                    <a:pt x="2818349" y="3087424"/>
                  </a:lnTo>
                  <a:lnTo>
                    <a:pt x="2311420" y="0"/>
                  </a:lnTo>
                  <a:close/>
                </a:path>
              </a:pathLst>
            </a:custGeom>
            <a:gradFill>
              <a:gsLst>
                <a:gs pos="100000">
                  <a:schemeClr val="accent3"/>
                </a:gs>
                <a:gs pos="32000">
                  <a:schemeClr val="accent2"/>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6" name="Freeform 35"/>
            <p:cNvSpPr/>
            <p:nvPr/>
          </p:nvSpPr>
          <p:spPr>
            <a:xfrm>
              <a:off x="7660347" y="1094096"/>
              <a:ext cx="4531653" cy="1344304"/>
            </a:xfrm>
            <a:custGeom>
              <a:avLst/>
              <a:gdLst>
                <a:gd name="connsiteX0" fmla="*/ 0 w 4533900"/>
                <a:gd name="connsiteY0" fmla="*/ 142875 h 1371600"/>
                <a:gd name="connsiteX1" fmla="*/ 4533900 w 4533900"/>
                <a:gd name="connsiteY1" fmla="*/ 0 h 1371600"/>
                <a:gd name="connsiteX2" fmla="*/ 2043113 w 4533900"/>
                <a:gd name="connsiteY2" fmla="*/ 1371600 h 1371600"/>
                <a:gd name="connsiteX3" fmla="*/ 0 w 4533900"/>
                <a:gd name="connsiteY3" fmla="*/ 142875 h 1371600"/>
                <a:gd name="connsiteX0" fmla="*/ 0 w 4533900"/>
                <a:gd name="connsiteY0" fmla="*/ 142875 h 1371600"/>
                <a:gd name="connsiteX1" fmla="*/ 4533900 w 4533900"/>
                <a:gd name="connsiteY1" fmla="*/ 0 h 1371600"/>
                <a:gd name="connsiteX2" fmla="*/ 2021848 w 4533900"/>
                <a:gd name="connsiteY2" fmla="*/ 1371600 h 1371600"/>
                <a:gd name="connsiteX3" fmla="*/ 0 w 4533900"/>
                <a:gd name="connsiteY3" fmla="*/ 142875 h 1371600"/>
                <a:gd name="connsiteX0" fmla="*/ 0 w 4544532"/>
                <a:gd name="connsiteY0" fmla="*/ 153508 h 1371600"/>
                <a:gd name="connsiteX1" fmla="*/ 4544532 w 4544532"/>
                <a:gd name="connsiteY1" fmla="*/ 0 h 1371600"/>
                <a:gd name="connsiteX2" fmla="*/ 2032480 w 4544532"/>
                <a:gd name="connsiteY2" fmla="*/ 1371600 h 1371600"/>
                <a:gd name="connsiteX3" fmla="*/ 0 w 4544532"/>
                <a:gd name="connsiteY3" fmla="*/ 153508 h 1371600"/>
                <a:gd name="connsiteX0" fmla="*/ 0 w 4544532"/>
                <a:gd name="connsiteY0" fmla="*/ 142875 h 1371600"/>
                <a:gd name="connsiteX1" fmla="*/ 4544532 w 4544532"/>
                <a:gd name="connsiteY1" fmla="*/ 0 h 1371600"/>
                <a:gd name="connsiteX2" fmla="*/ 2032480 w 4544532"/>
                <a:gd name="connsiteY2" fmla="*/ 1371600 h 1371600"/>
                <a:gd name="connsiteX3" fmla="*/ 0 w 4544532"/>
                <a:gd name="connsiteY3" fmla="*/ 142875 h 1371600"/>
                <a:gd name="connsiteX0" fmla="*/ 0 w 4536805"/>
                <a:gd name="connsiteY0" fmla="*/ 148026 h 1371600"/>
                <a:gd name="connsiteX1" fmla="*/ 4536805 w 4536805"/>
                <a:gd name="connsiteY1" fmla="*/ 0 h 1371600"/>
                <a:gd name="connsiteX2" fmla="*/ 2024753 w 4536805"/>
                <a:gd name="connsiteY2" fmla="*/ 1371600 h 1371600"/>
                <a:gd name="connsiteX3" fmla="*/ 0 w 4536805"/>
                <a:gd name="connsiteY3" fmla="*/ 148026 h 1371600"/>
                <a:gd name="connsiteX0" fmla="*/ 0 w 4531653"/>
                <a:gd name="connsiteY0" fmla="*/ 142874 h 1371600"/>
                <a:gd name="connsiteX1" fmla="*/ 4531653 w 4531653"/>
                <a:gd name="connsiteY1" fmla="*/ 0 h 1371600"/>
                <a:gd name="connsiteX2" fmla="*/ 2019601 w 4531653"/>
                <a:gd name="connsiteY2" fmla="*/ 1371600 h 1371600"/>
                <a:gd name="connsiteX3" fmla="*/ 0 w 4531653"/>
                <a:gd name="connsiteY3" fmla="*/ 142874 h 1371600"/>
                <a:gd name="connsiteX0" fmla="*/ 0 w 3944799"/>
                <a:gd name="connsiteY0" fmla="*/ 33692 h 1262418"/>
                <a:gd name="connsiteX1" fmla="*/ 3944799 w 3944799"/>
                <a:gd name="connsiteY1" fmla="*/ 0 h 1262418"/>
                <a:gd name="connsiteX2" fmla="*/ 2019601 w 3944799"/>
                <a:gd name="connsiteY2" fmla="*/ 1262418 h 1262418"/>
                <a:gd name="connsiteX3" fmla="*/ 0 w 3944799"/>
                <a:gd name="connsiteY3" fmla="*/ 33692 h 1262418"/>
                <a:gd name="connsiteX0" fmla="*/ 0 w 4531653"/>
                <a:gd name="connsiteY0" fmla="*/ 115578 h 1344304"/>
                <a:gd name="connsiteX1" fmla="*/ 4531653 w 4531653"/>
                <a:gd name="connsiteY1" fmla="*/ 0 h 1344304"/>
                <a:gd name="connsiteX2" fmla="*/ 2019601 w 4531653"/>
                <a:gd name="connsiteY2" fmla="*/ 1344304 h 1344304"/>
                <a:gd name="connsiteX3" fmla="*/ 0 w 4531653"/>
                <a:gd name="connsiteY3" fmla="*/ 115578 h 1344304"/>
              </a:gdLst>
              <a:ahLst/>
              <a:cxnLst>
                <a:cxn ang="0">
                  <a:pos x="connsiteX0" y="connsiteY0"/>
                </a:cxn>
                <a:cxn ang="0">
                  <a:pos x="connsiteX1" y="connsiteY1"/>
                </a:cxn>
                <a:cxn ang="0">
                  <a:pos x="connsiteX2" y="connsiteY2"/>
                </a:cxn>
                <a:cxn ang="0">
                  <a:pos x="connsiteX3" y="connsiteY3"/>
                </a:cxn>
              </a:cxnLst>
              <a:rect l="l" t="t" r="r" b="b"/>
              <a:pathLst>
                <a:path w="4531653" h="1344304">
                  <a:moveTo>
                    <a:pt x="0" y="115578"/>
                  </a:moveTo>
                  <a:lnTo>
                    <a:pt x="4531653" y="0"/>
                  </a:lnTo>
                  <a:lnTo>
                    <a:pt x="2019601" y="1344304"/>
                  </a:lnTo>
                  <a:lnTo>
                    <a:pt x="0" y="115578"/>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7" name="Freeform 36"/>
            <p:cNvSpPr/>
            <p:nvPr/>
          </p:nvSpPr>
          <p:spPr>
            <a:xfrm>
              <a:off x="4067336" y="4700371"/>
              <a:ext cx="4645354" cy="2166557"/>
            </a:xfrm>
            <a:custGeom>
              <a:avLst/>
              <a:gdLst>
                <a:gd name="connsiteX0" fmla="*/ 0 w 4632158"/>
                <a:gd name="connsiteY0" fmla="*/ 1239253 h 2129590"/>
                <a:gd name="connsiteX1" fmla="*/ 3645569 w 4632158"/>
                <a:gd name="connsiteY1" fmla="*/ 0 h 2129590"/>
                <a:gd name="connsiteX2" fmla="*/ 4632158 w 4632158"/>
                <a:gd name="connsiteY2" fmla="*/ 2129590 h 2129590"/>
                <a:gd name="connsiteX3" fmla="*/ 0 w 4632158"/>
                <a:gd name="connsiteY3" fmla="*/ 1239253 h 2129590"/>
                <a:gd name="connsiteX0" fmla="*/ 0 w 4632158"/>
                <a:gd name="connsiteY0" fmla="*/ 1243228 h 2133565"/>
                <a:gd name="connsiteX1" fmla="*/ 3641593 w 4632158"/>
                <a:gd name="connsiteY1" fmla="*/ 0 h 2133565"/>
                <a:gd name="connsiteX2" fmla="*/ 4632158 w 4632158"/>
                <a:gd name="connsiteY2" fmla="*/ 2133565 h 2133565"/>
                <a:gd name="connsiteX3" fmla="*/ 0 w 4632158"/>
                <a:gd name="connsiteY3" fmla="*/ 1243228 h 2133565"/>
                <a:gd name="connsiteX0" fmla="*/ 0 w 4656011"/>
                <a:gd name="connsiteY0" fmla="*/ 1243228 h 2157419"/>
                <a:gd name="connsiteX1" fmla="*/ 3641593 w 4656011"/>
                <a:gd name="connsiteY1" fmla="*/ 0 h 2157419"/>
                <a:gd name="connsiteX2" fmla="*/ 4656011 w 4656011"/>
                <a:gd name="connsiteY2" fmla="*/ 2157419 h 2157419"/>
                <a:gd name="connsiteX3" fmla="*/ 0 w 4656011"/>
                <a:gd name="connsiteY3" fmla="*/ 1243228 h 2157419"/>
                <a:gd name="connsiteX0" fmla="*/ 0 w 4659987"/>
                <a:gd name="connsiteY0" fmla="*/ 1247204 h 2157419"/>
                <a:gd name="connsiteX1" fmla="*/ 3645569 w 4659987"/>
                <a:gd name="connsiteY1" fmla="*/ 0 h 2157419"/>
                <a:gd name="connsiteX2" fmla="*/ 4659987 w 4659987"/>
                <a:gd name="connsiteY2" fmla="*/ 2157419 h 2157419"/>
                <a:gd name="connsiteX3" fmla="*/ 0 w 4659987"/>
                <a:gd name="connsiteY3" fmla="*/ 1247204 h 2157419"/>
                <a:gd name="connsiteX0" fmla="*/ 0 w 4667938"/>
                <a:gd name="connsiteY0" fmla="*/ 1263107 h 2157419"/>
                <a:gd name="connsiteX1" fmla="*/ 3653520 w 4667938"/>
                <a:gd name="connsiteY1" fmla="*/ 0 h 2157419"/>
                <a:gd name="connsiteX2" fmla="*/ 4667938 w 4667938"/>
                <a:gd name="connsiteY2" fmla="*/ 2157419 h 2157419"/>
                <a:gd name="connsiteX3" fmla="*/ 0 w 4667938"/>
                <a:gd name="connsiteY3" fmla="*/ 1263107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59987"/>
                <a:gd name="connsiteY0" fmla="*/ 1251181 h 2157419"/>
                <a:gd name="connsiteX1" fmla="*/ 3645569 w 4659987"/>
                <a:gd name="connsiteY1" fmla="*/ 0 h 2157419"/>
                <a:gd name="connsiteX2" fmla="*/ 4659987 w 4659987"/>
                <a:gd name="connsiteY2" fmla="*/ 2157419 h 2157419"/>
                <a:gd name="connsiteX3" fmla="*/ 0 w 4659987"/>
                <a:gd name="connsiteY3" fmla="*/ 1251181 h 2157419"/>
                <a:gd name="connsiteX0" fmla="*/ 0 w 4674275"/>
                <a:gd name="connsiteY0" fmla="*/ 1251181 h 2157419"/>
                <a:gd name="connsiteX1" fmla="*/ 3645569 w 4674275"/>
                <a:gd name="connsiteY1" fmla="*/ 0 h 2157419"/>
                <a:gd name="connsiteX2" fmla="*/ 4674275 w 4674275"/>
                <a:gd name="connsiteY2" fmla="*/ 2157419 h 2157419"/>
                <a:gd name="connsiteX3" fmla="*/ 0 w 4674275"/>
                <a:gd name="connsiteY3" fmla="*/ 1251181 h 2157419"/>
                <a:gd name="connsiteX0" fmla="*/ 0 w 4683800"/>
                <a:gd name="connsiteY0" fmla="*/ 1251181 h 2157419"/>
                <a:gd name="connsiteX1" fmla="*/ 3655094 w 4683800"/>
                <a:gd name="connsiteY1" fmla="*/ 0 h 2157419"/>
                <a:gd name="connsiteX2" fmla="*/ 4683800 w 4683800"/>
                <a:gd name="connsiteY2" fmla="*/ 2157419 h 2157419"/>
                <a:gd name="connsiteX3" fmla="*/ 0 w 4683800"/>
                <a:gd name="connsiteY3" fmla="*/ 1251181 h 2157419"/>
                <a:gd name="connsiteX0" fmla="*/ 0 w 4695230"/>
                <a:gd name="connsiteY0" fmla="*/ 1251181 h 2157419"/>
                <a:gd name="connsiteX1" fmla="*/ 3666524 w 4695230"/>
                <a:gd name="connsiteY1" fmla="*/ 0 h 2157419"/>
                <a:gd name="connsiteX2" fmla="*/ 4695230 w 4695230"/>
                <a:gd name="connsiteY2" fmla="*/ 2157419 h 2157419"/>
                <a:gd name="connsiteX3" fmla="*/ 0 w 4695230"/>
                <a:gd name="connsiteY3" fmla="*/ 1251181 h 2157419"/>
                <a:gd name="connsiteX0" fmla="*/ 0 w 4695230"/>
                <a:gd name="connsiteY0" fmla="*/ 1251181 h 2171067"/>
                <a:gd name="connsiteX1" fmla="*/ 3666524 w 4695230"/>
                <a:gd name="connsiteY1" fmla="*/ 0 h 2171067"/>
                <a:gd name="connsiteX2" fmla="*/ 4695230 w 4695230"/>
                <a:gd name="connsiteY2" fmla="*/ 2171067 h 2171067"/>
                <a:gd name="connsiteX3" fmla="*/ 0 w 4695230"/>
                <a:gd name="connsiteY3" fmla="*/ 1251181 h 2171067"/>
                <a:gd name="connsiteX0" fmla="*/ 0 w 4708878"/>
                <a:gd name="connsiteY0" fmla="*/ 1251181 h 2184715"/>
                <a:gd name="connsiteX1" fmla="*/ 3666524 w 4708878"/>
                <a:gd name="connsiteY1" fmla="*/ 0 h 2184715"/>
                <a:gd name="connsiteX2" fmla="*/ 4708878 w 4708878"/>
                <a:gd name="connsiteY2" fmla="*/ 2184715 h 2184715"/>
                <a:gd name="connsiteX3" fmla="*/ 0 w 4708878"/>
                <a:gd name="connsiteY3" fmla="*/ 1251181 h 2184715"/>
                <a:gd name="connsiteX0" fmla="*/ 0 w 4722526"/>
                <a:gd name="connsiteY0" fmla="*/ 1251181 h 2198363"/>
                <a:gd name="connsiteX1" fmla="*/ 3666524 w 4722526"/>
                <a:gd name="connsiteY1" fmla="*/ 0 h 2198363"/>
                <a:gd name="connsiteX2" fmla="*/ 4722526 w 4722526"/>
                <a:gd name="connsiteY2" fmla="*/ 2198363 h 2198363"/>
                <a:gd name="connsiteX3" fmla="*/ 0 w 4722526"/>
                <a:gd name="connsiteY3" fmla="*/ 1251181 h 2198363"/>
                <a:gd name="connsiteX0" fmla="*/ 0 w 4658916"/>
                <a:gd name="connsiteY0" fmla="*/ 1251181 h 2190411"/>
                <a:gd name="connsiteX1" fmla="*/ 3666524 w 4658916"/>
                <a:gd name="connsiteY1" fmla="*/ 0 h 2190411"/>
                <a:gd name="connsiteX2" fmla="*/ 4658916 w 4658916"/>
                <a:gd name="connsiteY2" fmla="*/ 2190411 h 2190411"/>
                <a:gd name="connsiteX3" fmla="*/ 0 w 4658916"/>
                <a:gd name="connsiteY3" fmla="*/ 1251181 h 2190411"/>
                <a:gd name="connsiteX0" fmla="*/ 0 w 4658916"/>
                <a:gd name="connsiteY0" fmla="*/ 1251181 h 2166557"/>
                <a:gd name="connsiteX1" fmla="*/ 3666524 w 4658916"/>
                <a:gd name="connsiteY1" fmla="*/ 0 h 2166557"/>
                <a:gd name="connsiteX2" fmla="*/ 4658916 w 4658916"/>
                <a:gd name="connsiteY2" fmla="*/ 2166557 h 2166557"/>
                <a:gd name="connsiteX3" fmla="*/ 0 w 4658916"/>
                <a:gd name="connsiteY3" fmla="*/ 1251181 h 2166557"/>
                <a:gd name="connsiteX0" fmla="*/ 0 w 4670136"/>
                <a:gd name="connsiteY0" fmla="*/ 1251181 h 2166557"/>
                <a:gd name="connsiteX1" fmla="*/ 3677744 w 4670136"/>
                <a:gd name="connsiteY1" fmla="*/ 0 h 2166557"/>
                <a:gd name="connsiteX2" fmla="*/ 4670136 w 4670136"/>
                <a:gd name="connsiteY2" fmla="*/ 2166557 h 2166557"/>
                <a:gd name="connsiteX3" fmla="*/ 0 w 4670136"/>
                <a:gd name="connsiteY3" fmla="*/ 1251181 h 2166557"/>
                <a:gd name="connsiteX0" fmla="*/ 0 w 4653306"/>
                <a:gd name="connsiteY0" fmla="*/ 1251181 h 2166557"/>
                <a:gd name="connsiteX1" fmla="*/ 3660914 w 4653306"/>
                <a:gd name="connsiteY1" fmla="*/ 0 h 2166557"/>
                <a:gd name="connsiteX2" fmla="*/ 4653306 w 4653306"/>
                <a:gd name="connsiteY2" fmla="*/ 2166557 h 2166557"/>
                <a:gd name="connsiteX3" fmla="*/ 0 w 4653306"/>
                <a:gd name="connsiteY3" fmla="*/ 1251181 h 2166557"/>
                <a:gd name="connsiteX0" fmla="*/ 0 w 4001299"/>
                <a:gd name="connsiteY0" fmla="*/ 869518 h 2166557"/>
                <a:gd name="connsiteX1" fmla="*/ 3008907 w 4001299"/>
                <a:gd name="connsiteY1" fmla="*/ 0 h 2166557"/>
                <a:gd name="connsiteX2" fmla="*/ 4001299 w 4001299"/>
                <a:gd name="connsiteY2" fmla="*/ 2166557 h 2166557"/>
                <a:gd name="connsiteX3" fmla="*/ 0 w 4001299"/>
                <a:gd name="connsiteY3" fmla="*/ 869518 h 2166557"/>
                <a:gd name="connsiteX0" fmla="*/ 0 w 4645354"/>
                <a:gd name="connsiteY0" fmla="*/ 1251181 h 2166557"/>
                <a:gd name="connsiteX1" fmla="*/ 3652962 w 4645354"/>
                <a:gd name="connsiteY1" fmla="*/ 0 h 2166557"/>
                <a:gd name="connsiteX2" fmla="*/ 4645354 w 4645354"/>
                <a:gd name="connsiteY2" fmla="*/ 2166557 h 2166557"/>
                <a:gd name="connsiteX3" fmla="*/ 0 w 4645354"/>
                <a:gd name="connsiteY3" fmla="*/ 1251181 h 2166557"/>
                <a:gd name="connsiteX0" fmla="*/ 0 w 4645354"/>
                <a:gd name="connsiteY0" fmla="*/ 1243230 h 2166557"/>
                <a:gd name="connsiteX1" fmla="*/ 3652962 w 4645354"/>
                <a:gd name="connsiteY1" fmla="*/ 0 h 2166557"/>
                <a:gd name="connsiteX2" fmla="*/ 4645354 w 4645354"/>
                <a:gd name="connsiteY2" fmla="*/ 2166557 h 2166557"/>
                <a:gd name="connsiteX3" fmla="*/ 0 w 4645354"/>
                <a:gd name="connsiteY3" fmla="*/ 1243230 h 2166557"/>
              </a:gdLst>
              <a:ahLst/>
              <a:cxnLst>
                <a:cxn ang="0">
                  <a:pos x="connsiteX0" y="connsiteY0"/>
                </a:cxn>
                <a:cxn ang="0">
                  <a:pos x="connsiteX1" y="connsiteY1"/>
                </a:cxn>
                <a:cxn ang="0">
                  <a:pos x="connsiteX2" y="connsiteY2"/>
                </a:cxn>
                <a:cxn ang="0">
                  <a:pos x="connsiteX3" y="connsiteY3"/>
                </a:cxn>
              </a:cxnLst>
              <a:rect l="l" t="t" r="r" b="b"/>
              <a:pathLst>
                <a:path w="4645354" h="2166557">
                  <a:moveTo>
                    <a:pt x="0" y="1243230"/>
                  </a:moveTo>
                  <a:lnTo>
                    <a:pt x="3652962" y="0"/>
                  </a:lnTo>
                  <a:lnTo>
                    <a:pt x="4645354" y="2166557"/>
                  </a:lnTo>
                  <a:lnTo>
                    <a:pt x="0" y="1243230"/>
                  </a:lnTo>
                  <a:close/>
                </a:path>
              </a:pathLst>
            </a:custGeom>
            <a:gradFill>
              <a:gsLst>
                <a:gs pos="100000">
                  <a:schemeClr val="accent3"/>
                </a:gs>
                <a:gs pos="46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8" name="Freeform 37"/>
            <p:cNvSpPr/>
            <p:nvPr/>
          </p:nvSpPr>
          <p:spPr>
            <a:xfrm>
              <a:off x="3541852" y="3007895"/>
              <a:ext cx="2834884" cy="2947737"/>
            </a:xfrm>
            <a:custGeom>
              <a:avLst/>
              <a:gdLst>
                <a:gd name="connsiteX0" fmla="*/ 0 w 2791326"/>
                <a:gd name="connsiteY0" fmla="*/ 1816768 h 2947737"/>
                <a:gd name="connsiteX1" fmla="*/ 493294 w 2791326"/>
                <a:gd name="connsiteY1" fmla="*/ 2947737 h 2947737"/>
                <a:gd name="connsiteX2" fmla="*/ 2791326 w 2791326"/>
                <a:gd name="connsiteY2" fmla="*/ 0 h 2947737"/>
                <a:gd name="connsiteX3" fmla="*/ 0 w 2791326"/>
                <a:gd name="connsiteY3" fmla="*/ 1816768 h 2947737"/>
                <a:gd name="connsiteX0" fmla="*/ 0 w 2799638"/>
                <a:gd name="connsiteY0" fmla="*/ 1845863 h 2947737"/>
                <a:gd name="connsiteX1" fmla="*/ 501606 w 2799638"/>
                <a:gd name="connsiteY1" fmla="*/ 2947737 h 2947737"/>
                <a:gd name="connsiteX2" fmla="*/ 2799638 w 2799638"/>
                <a:gd name="connsiteY2" fmla="*/ 0 h 2947737"/>
                <a:gd name="connsiteX3" fmla="*/ 0 w 2799638"/>
                <a:gd name="connsiteY3" fmla="*/ 1845863 h 2947737"/>
                <a:gd name="connsiteX0" fmla="*/ 0 w 2826933"/>
                <a:gd name="connsiteY0" fmla="*/ 1886806 h 2947737"/>
                <a:gd name="connsiteX1" fmla="*/ 528901 w 2826933"/>
                <a:gd name="connsiteY1" fmla="*/ 2947737 h 2947737"/>
                <a:gd name="connsiteX2" fmla="*/ 2826933 w 2826933"/>
                <a:gd name="connsiteY2" fmla="*/ 0 h 2947737"/>
                <a:gd name="connsiteX3" fmla="*/ 0 w 2826933"/>
                <a:gd name="connsiteY3" fmla="*/ 1886806 h 2947737"/>
                <a:gd name="connsiteX0" fmla="*/ 0 w 2826933"/>
                <a:gd name="connsiteY0" fmla="*/ 1859510 h 2947737"/>
                <a:gd name="connsiteX1" fmla="*/ 528901 w 2826933"/>
                <a:gd name="connsiteY1" fmla="*/ 2947737 h 2947737"/>
                <a:gd name="connsiteX2" fmla="*/ 2826933 w 2826933"/>
                <a:gd name="connsiteY2" fmla="*/ 0 h 2947737"/>
                <a:gd name="connsiteX3" fmla="*/ 0 w 2826933"/>
                <a:gd name="connsiteY3" fmla="*/ 1859510 h 2947737"/>
                <a:gd name="connsiteX0" fmla="*/ 0 w 2826933"/>
                <a:gd name="connsiteY0" fmla="*/ 1859510 h 2947737"/>
                <a:gd name="connsiteX1" fmla="*/ 523291 w 2826933"/>
                <a:gd name="connsiteY1" fmla="*/ 2947737 h 2947737"/>
                <a:gd name="connsiteX2" fmla="*/ 2826933 w 2826933"/>
                <a:gd name="connsiteY2" fmla="*/ 0 h 2947737"/>
                <a:gd name="connsiteX3" fmla="*/ 0 w 2826933"/>
                <a:gd name="connsiteY3" fmla="*/ 1859510 h 2947737"/>
                <a:gd name="connsiteX0" fmla="*/ 0 w 2834884"/>
                <a:gd name="connsiteY0" fmla="*/ 1867462 h 2947737"/>
                <a:gd name="connsiteX1" fmla="*/ 531242 w 2834884"/>
                <a:gd name="connsiteY1" fmla="*/ 2947737 h 2947737"/>
                <a:gd name="connsiteX2" fmla="*/ 2834884 w 2834884"/>
                <a:gd name="connsiteY2" fmla="*/ 0 h 2947737"/>
                <a:gd name="connsiteX3" fmla="*/ 0 w 2834884"/>
                <a:gd name="connsiteY3" fmla="*/ 1867462 h 2947737"/>
              </a:gdLst>
              <a:ahLst/>
              <a:cxnLst>
                <a:cxn ang="0">
                  <a:pos x="connsiteX0" y="connsiteY0"/>
                </a:cxn>
                <a:cxn ang="0">
                  <a:pos x="connsiteX1" y="connsiteY1"/>
                </a:cxn>
                <a:cxn ang="0">
                  <a:pos x="connsiteX2" y="connsiteY2"/>
                </a:cxn>
                <a:cxn ang="0">
                  <a:pos x="connsiteX3" y="connsiteY3"/>
                </a:cxn>
              </a:cxnLst>
              <a:rect l="l" t="t" r="r" b="b"/>
              <a:pathLst>
                <a:path w="2834884" h="2947737">
                  <a:moveTo>
                    <a:pt x="0" y="1867462"/>
                  </a:moveTo>
                  <a:lnTo>
                    <a:pt x="531242" y="2947737"/>
                  </a:lnTo>
                  <a:lnTo>
                    <a:pt x="2834884" y="0"/>
                  </a:lnTo>
                  <a:lnTo>
                    <a:pt x="0" y="1867462"/>
                  </a:ln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grpSp>
      <p:sp>
        <p:nvSpPr>
          <p:cNvPr id="2" name="Title 1"/>
          <p:cNvSpPr>
            <a:spLocks noGrp="1"/>
          </p:cNvSpPr>
          <p:nvPr userDrawn="1">
            <p:ph type="title"/>
          </p:nvPr>
        </p:nvSpPr>
        <p:spPr>
          <a:xfrm>
            <a:off x="379413" y="1333500"/>
            <a:ext cx="9521825" cy="4127499"/>
          </a:xfrm>
          <a:noFill/>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1452498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20070278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31 October 2018</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0071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ver_1 line/subhead">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88952" cy="6882059"/>
          </a:xfrm>
          <a:prstGeom prst="rect">
            <a:avLst/>
          </a:prstGeom>
        </p:spPr>
      </p:pic>
      <p:sp>
        <p:nvSpPr>
          <p:cNvPr id="19" name="Freeform 18"/>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4048" y="2282634"/>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sp>
        <p:nvSpPr>
          <p:cNvPr id="3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
        <p:nvSpPr>
          <p:cNvPr id="13" name="Text Placeholder 7"/>
          <p:cNvSpPr>
            <a:spLocks noGrp="1"/>
          </p:cNvSpPr>
          <p:nvPr>
            <p:ph type="body" sz="quarter" idx="10" hasCustomPrompt="1"/>
          </p:nvPr>
        </p:nvSpPr>
        <p:spPr>
          <a:xfrm>
            <a:off x="384048" y="5204499"/>
            <a:ext cx="4449209"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45" name="Picture 4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880891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_1 lin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6882059"/>
          </a:xfrm>
          <a:prstGeom prst="rect">
            <a:avLst/>
          </a:prstGeom>
        </p:spPr>
      </p:pic>
      <p:sp>
        <p:nvSpPr>
          <p:cNvPr id="8" name="Freeform 7"/>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pic>
        <p:nvPicPr>
          <p:cNvPr id="33" name="Picture 3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Tree>
    <p:extLst>
      <p:ext uri="{BB962C8B-B14F-4D97-AF65-F5344CB8AC3E}">
        <p14:creationId xmlns:p14="http://schemas.microsoft.com/office/powerpoint/2010/main" val="2462082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_2 line/subhead">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Tree>
    <p:extLst>
      <p:ext uri="{BB962C8B-B14F-4D97-AF65-F5344CB8AC3E}">
        <p14:creationId xmlns:p14="http://schemas.microsoft.com/office/powerpoint/2010/main" val="2326148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_2 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2" name="Text Placeholder 7"/>
          <p:cNvSpPr>
            <a:spLocks noGrp="1"/>
          </p:cNvSpPr>
          <p:nvPr>
            <p:ph type="body" sz="quarter" idx="11" hasCustomPrompt="1"/>
          </p:nvPr>
        </p:nvSpPr>
        <p:spPr>
          <a:xfrm>
            <a:off x="384048"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Tree>
    <p:extLst>
      <p:ext uri="{BB962C8B-B14F-4D97-AF65-F5344CB8AC3E}">
        <p14:creationId xmlns:p14="http://schemas.microsoft.com/office/powerpoint/2010/main" val="911053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_3 line/subhead">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1"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
        <p:nvSpPr>
          <p:cNvPr id="22"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Tree>
    <p:extLst>
      <p:ext uri="{BB962C8B-B14F-4D97-AF65-F5344CB8AC3E}">
        <p14:creationId xmlns:p14="http://schemas.microsoft.com/office/powerpoint/2010/main" val="70047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_3 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2"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Tree>
    <p:extLst>
      <p:ext uri="{BB962C8B-B14F-4D97-AF65-F5344CB8AC3E}">
        <p14:creationId xmlns:p14="http://schemas.microsoft.com/office/powerpoint/2010/main" val="882788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_4 line/subhead">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382049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ver_4 lin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7040321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ver_5 line/subhead">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67524"/>
          </a:xfrm>
          <a:prstGeom prst="rect">
            <a:avLst/>
          </a:prstGeom>
        </p:spPr>
      </p:pic>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grpSp>
        <p:nvGrpSpPr>
          <p:cNvPr id="31" name="Group 30"/>
          <p:cNvGrpSpPr/>
          <p:nvPr userDrawn="1"/>
        </p:nvGrpSpPr>
        <p:grpSpPr>
          <a:xfrm>
            <a:off x="6095262" y="0"/>
            <a:ext cx="6101116" cy="6858864"/>
            <a:chOff x="6095262" y="0"/>
            <a:chExt cx="6101116" cy="6858864"/>
          </a:xfrm>
        </p:grpSpPr>
        <p:sp>
          <p:nvSpPr>
            <p:cNvPr id="8" name="Freeform 7"/>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3" name="Freeform 32"/>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1"/>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Freeform 3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1"/>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Tree>
    <p:extLst>
      <p:ext uri="{BB962C8B-B14F-4D97-AF65-F5344CB8AC3E}">
        <p14:creationId xmlns:p14="http://schemas.microsoft.com/office/powerpoint/2010/main" val="153527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ver_5 lin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grpSp>
        <p:nvGrpSpPr>
          <p:cNvPr id="22" name="Group 21"/>
          <p:cNvGrpSpPr/>
          <p:nvPr userDrawn="1"/>
        </p:nvGrpSpPr>
        <p:grpSpPr>
          <a:xfrm>
            <a:off x="6095262" y="0"/>
            <a:ext cx="6101116" cy="6858864"/>
            <a:chOff x="6095262" y="0"/>
            <a:chExt cx="6101116" cy="6858864"/>
          </a:xfrm>
        </p:grpSpPr>
        <p:sp>
          <p:nvSpPr>
            <p:cNvPr id="23" name="Freeform 22"/>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4" name="Freeform 23"/>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3"/>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Freeform 2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3"/>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3"/>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Tree>
    <p:extLst>
      <p:ext uri="{BB962C8B-B14F-4D97-AF65-F5344CB8AC3E}">
        <p14:creationId xmlns:p14="http://schemas.microsoft.com/office/powerpoint/2010/main" val="1453450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5" name="Group 22"/>
          <p:cNvGrpSpPr>
            <a:grpSpLocks/>
          </p:cNvGrpSpPr>
          <p:nvPr userDrawn="1"/>
        </p:nvGrpSpPr>
        <p:grpSpPr bwMode="auto">
          <a:xfrm>
            <a:off x="-264086" y="6596401"/>
            <a:ext cx="2147228" cy="184155"/>
            <a:chOff x="9374212" y="6574531"/>
            <a:chExt cx="2147228" cy="182885"/>
          </a:xfrm>
        </p:grpSpPr>
        <p:grpSp>
          <p:nvGrpSpPr>
            <p:cNvPr id="6" name="Group 8"/>
            <p:cNvGrpSpPr>
              <a:grpSpLocks/>
            </p:cNvGrpSpPr>
            <p:nvPr/>
          </p:nvGrpSpPr>
          <p:grpSpPr bwMode="auto">
            <a:xfrm>
              <a:off x="9374212" y="6574531"/>
              <a:ext cx="2147228" cy="182883"/>
              <a:chOff x="9378677" y="6574531"/>
              <a:chExt cx="2147228" cy="182883"/>
            </a:xfrm>
          </p:grpSpPr>
          <p:sp>
            <p:nvSpPr>
              <p:cNvPr id="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31 October 2018</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81154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ver_1 REVERSED line/subhead">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19" name="Freeform 18"/>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4048" y="2282634"/>
            <a:ext cx="9521825" cy="1051116"/>
          </a:xfrm>
          <a:prstGeom prst="rect">
            <a:avLst/>
          </a:prstGeom>
        </p:spPr>
        <p:txBody>
          <a:bodyPr vert="horz" wrap="square" lIns="0" tIns="0" rIns="0" bIns="0" anchor="t" anchorCtr="0">
            <a:noAutofit/>
          </a:bodyPr>
          <a:lstStyle>
            <a:lvl1pPr algn="l">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sp>
        <p:nvSpPr>
          <p:cNvPr id="3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3" name="Text Placeholder 7"/>
          <p:cNvSpPr>
            <a:spLocks noGrp="1"/>
          </p:cNvSpPr>
          <p:nvPr>
            <p:ph type="body" sz="quarter" idx="10" hasCustomPrompt="1"/>
          </p:nvPr>
        </p:nvSpPr>
        <p:spPr>
          <a:xfrm>
            <a:off x="384048" y="5204499"/>
            <a:ext cx="4449209"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141529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_1 REVERSED lin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sp>
        <p:nvSpPr>
          <p:cNvPr id="2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15998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ver_2 REVERSED line/subhead">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84969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ver_2 REVERSED lin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22" name="Text Placeholder 7"/>
          <p:cNvSpPr>
            <a:spLocks noGrp="1"/>
          </p:cNvSpPr>
          <p:nvPr>
            <p:ph type="body" sz="quarter" idx="11" hasCustomPrompt="1"/>
          </p:nvPr>
        </p:nvSpPr>
        <p:spPr>
          <a:xfrm>
            <a:off x="384048"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565404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_3 REVERSED line/subhead">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21"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22"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156574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ver_3 REVERSED lin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22"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199335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ver_4 REVERSED line/subhead">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25770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_4 REVERSED lin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016572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_5 REVERSED line/subhead">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grpSp>
        <p:nvGrpSpPr>
          <p:cNvPr id="31" name="Group 30"/>
          <p:cNvGrpSpPr/>
          <p:nvPr userDrawn="1"/>
        </p:nvGrpSpPr>
        <p:grpSpPr>
          <a:xfrm>
            <a:off x="6095262" y="0"/>
            <a:ext cx="6101116" cy="6858864"/>
            <a:chOff x="6095262" y="0"/>
            <a:chExt cx="6101116" cy="6858864"/>
          </a:xfrm>
        </p:grpSpPr>
        <p:sp>
          <p:nvSpPr>
            <p:cNvPr id="8" name="Freeform 7"/>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33" name="Freeform 32"/>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1"/>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Freeform 3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1"/>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15" name="Picture 1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Tree>
    <p:extLst>
      <p:ext uri="{BB962C8B-B14F-4D97-AF65-F5344CB8AC3E}">
        <p14:creationId xmlns:p14="http://schemas.microsoft.com/office/powerpoint/2010/main" val="3831192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ver_5 REVERSED line">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grpSp>
        <p:nvGrpSpPr>
          <p:cNvPr id="22" name="Group 21"/>
          <p:cNvGrpSpPr/>
          <p:nvPr userDrawn="1"/>
        </p:nvGrpSpPr>
        <p:grpSpPr>
          <a:xfrm>
            <a:off x="6095262" y="0"/>
            <a:ext cx="6101116" cy="6858864"/>
            <a:chOff x="6095262" y="0"/>
            <a:chExt cx="6101116" cy="6858864"/>
          </a:xfrm>
        </p:grpSpPr>
        <p:sp>
          <p:nvSpPr>
            <p:cNvPr id="23" name="Freeform 22"/>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24" name="Freeform 23"/>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3"/>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Freeform 2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3"/>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3"/>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519913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p:nvPr>
        </p:nvSpPr>
        <p:spPr>
          <a:xfrm>
            <a:off x="379412" y="381000"/>
            <a:ext cx="11425237" cy="457200"/>
          </a:xfrm>
        </p:spPr>
        <p:txBody>
          <a:bodyPr rIns="0"/>
          <a:lstStyle/>
          <a:p>
            <a:r>
              <a:rPr lang="en-US"/>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31 October 2018</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939547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over_1 line_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a:t>One-line title</a:t>
            </a:r>
            <a:endParaRPr lang="en-GB" dirty="0"/>
          </a:p>
        </p:txBody>
      </p:sp>
      <p:sp>
        <p:nvSpPr>
          <p:cNvPr id="10" name="Text Placeholder 7"/>
          <p:cNvSpPr>
            <a:spLocks noGrp="1"/>
          </p:cNvSpPr>
          <p:nvPr>
            <p:ph type="body" sz="quarter" idx="12" hasCustomPrompt="1"/>
          </p:nvPr>
        </p:nvSpPr>
        <p:spPr>
          <a:xfrm>
            <a:off x="384048" y="4257741"/>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972873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Tree>
    <p:extLst>
      <p:ext uri="{BB962C8B-B14F-4D97-AF65-F5344CB8AC3E}">
        <p14:creationId xmlns:p14="http://schemas.microsoft.com/office/powerpoint/2010/main" val="3897360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9631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16" name="Rectangle 15"/>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2349048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12"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Tree>
    <p:extLst>
      <p:ext uri="{BB962C8B-B14F-4D97-AF65-F5344CB8AC3E}">
        <p14:creationId xmlns:p14="http://schemas.microsoft.com/office/powerpoint/2010/main" val="1326075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8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1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1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16" name="Rectangle 15"/>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557711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2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1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2" name="Rectangle 1"/>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6"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Tree>
    <p:extLst>
      <p:ext uri="{BB962C8B-B14F-4D97-AF65-F5344CB8AC3E}">
        <p14:creationId xmlns:p14="http://schemas.microsoft.com/office/powerpoint/2010/main" val="3708934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3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17"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18"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19" name="Rectangle 18"/>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781191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11"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12"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13" name="Rectangle 12"/>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4169282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946183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28920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31 October 2018</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00213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a:xfrm>
            <a:off x="0" y="1652428"/>
            <a:ext cx="8210550" cy="1994392"/>
          </a:xfrm>
          <a:prstGeom prst="rect">
            <a:avLst/>
          </a:prstGeom>
          <a:gradFill>
            <a:gsLst>
              <a:gs pos="0">
                <a:srgbClr val="65553C">
                  <a:alpha val="37000"/>
                </a:srgbClr>
              </a:gs>
              <a:gs pos="70000">
                <a:srgbClr val="654E47">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05400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Rectangle 4"/>
          <p:cNvSpPr/>
          <p:nvPr userDrawn="1"/>
        </p:nvSpPr>
        <p:spPr>
          <a:xfrm>
            <a:off x="0" y="1500850"/>
            <a:ext cx="8210550" cy="2145970"/>
          </a:xfrm>
          <a:prstGeom prst="rect">
            <a:avLst/>
          </a:prstGeom>
          <a:gradFill>
            <a:gsLst>
              <a:gs pos="0">
                <a:srgbClr val="629324">
                  <a:alpha val="66000"/>
                </a:srgbClr>
              </a:gs>
              <a:gs pos="70000">
                <a:srgbClr val="68942C">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188530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33074027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_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p:cNvSpPr/>
          <p:nvPr userDrawn="1"/>
        </p:nvSpPr>
        <p:spPr>
          <a:xfrm>
            <a:off x="0" y="1652428"/>
            <a:ext cx="8210550" cy="1994392"/>
          </a:xfrm>
          <a:prstGeom prst="rect">
            <a:avLst/>
          </a:prstGeom>
          <a:gradFill>
            <a:gsLst>
              <a:gs pos="0">
                <a:srgbClr val="03060D">
                  <a:alpha val="34000"/>
                </a:srgbClr>
              </a:gs>
              <a:gs pos="70000">
                <a:srgbClr val="68696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defTabSz="914400" rtl="0" eaLnBrk="1" latinLnBrk="0" hangingPunct="1">
              <a:lnSpc>
                <a:spcPct val="80000"/>
              </a:lnSpc>
              <a:spcBef>
                <a:spcPct val="0"/>
              </a:spcBef>
              <a:buNone/>
              <a:defRPr lang="en-GB" sz="7200" b="0" kern="1200" dirty="0">
                <a:solidFill>
                  <a:schemeClr val="bg1"/>
                </a:solidFill>
                <a:effectLst>
                  <a:outerShdw blurRad="50800" dist="38100" dir="5400000" algn="t" rotWithShape="0">
                    <a:prstClr val="black">
                      <a:alpha val="40000"/>
                    </a:prstClr>
                  </a:outerShdw>
                </a:effectLst>
                <a:latin typeface="3M Circular TT Bold" panose="020B0804020101010102" pitchFamily="34" charset="0"/>
                <a:ea typeface="+mj-ea"/>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260507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3" y="379414"/>
            <a:ext cx="11425237" cy="457200"/>
          </a:xfrm>
        </p:spPr>
        <p:txBody>
          <a:bodyPr/>
          <a:lstStyle/>
          <a:p>
            <a:r>
              <a:rPr lang="en-US"/>
              <a:t>Click to edit Master title style</a:t>
            </a:r>
            <a:endParaRPr lang="en-GB"/>
          </a:p>
        </p:txBody>
      </p:sp>
      <p:sp>
        <p:nvSpPr>
          <p:cNvPr id="7" name="Freeform 5"/>
          <p:cNvSpPr>
            <a:spLocks noEditPoints="1"/>
          </p:cNvSpPr>
          <p:nvPr userDrawn="1"/>
        </p:nvSpPr>
        <p:spPr bwMode="auto">
          <a:xfrm>
            <a:off x="5913041" y="647541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8" name="TextBox 7"/>
          <p:cNvSpPr txBox="1"/>
          <p:nvPr userDrawn="1"/>
        </p:nvSpPr>
        <p:spPr>
          <a:xfrm>
            <a:off x="11590811" y="6596403"/>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err="1">
              <a:solidFill>
                <a:prstClr val="black"/>
              </a:solidFill>
            </a:endParaRPr>
          </a:p>
        </p:txBody>
      </p:sp>
      <p:sp>
        <p:nvSpPr>
          <p:cNvPr id="6" name="Text Placeholder 4"/>
          <p:cNvSpPr>
            <a:spLocks noGrp="1"/>
          </p:cNvSpPr>
          <p:nvPr>
            <p:ph type="body" sz="quarter" idx="10"/>
          </p:nvPr>
        </p:nvSpPr>
        <p:spPr>
          <a:xfrm>
            <a:off x="381001" y="841248"/>
            <a:ext cx="11430000" cy="365760"/>
          </a:xfrm>
        </p:spPr>
        <p:txBody>
          <a:bodyPr/>
          <a:lstStyle>
            <a:lvl1pPr>
              <a:defRPr sz="2000">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173407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Tree>
    <p:extLst>
      <p:ext uri="{BB962C8B-B14F-4D97-AF65-F5344CB8AC3E}">
        <p14:creationId xmlns:p14="http://schemas.microsoft.com/office/powerpoint/2010/main" val="1658542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980861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3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16" name="Rectangle 15"/>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1659655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12"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Tree>
    <p:extLst>
      <p:ext uri="{BB962C8B-B14F-4D97-AF65-F5344CB8AC3E}">
        <p14:creationId xmlns:p14="http://schemas.microsoft.com/office/powerpoint/2010/main" val="14862825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14"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1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16" name="Rectangle 15"/>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3708540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2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2" name="Rectangle 1"/>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6" name="Title 3"/>
          <p:cNvSpPr>
            <a:spLocks noGrp="1"/>
          </p:cNvSpPr>
          <p:nvPr>
            <p:ph type="title"/>
          </p:nvPr>
        </p:nvSpPr>
        <p:spPr>
          <a:xfrm>
            <a:off x="379412" y="379413"/>
            <a:ext cx="11425237" cy="822960"/>
          </a:xfrm>
        </p:spPr>
        <p:txBody>
          <a:bodyPr/>
          <a:lstStyle/>
          <a:p>
            <a:r>
              <a:rPr lang="en-US" dirty="0"/>
              <a:t>Click to edit Master title style</a:t>
            </a:r>
            <a:endParaRPr lang="en-GB" dirty="0"/>
          </a:p>
        </p:txBody>
      </p:sp>
    </p:spTree>
    <p:extLst>
      <p:ext uri="{BB962C8B-B14F-4D97-AF65-F5344CB8AC3E}">
        <p14:creationId xmlns:p14="http://schemas.microsoft.com/office/powerpoint/2010/main" val="21074335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31 October 2018</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850233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dirty="0">
                <a:ln>
                  <a:noFill/>
                </a:ln>
                <a:solidFill>
                  <a:prstClr val="black"/>
                </a:solidFill>
                <a:effectLst/>
                <a:uLnTx/>
                <a:uFillTx/>
                <a:latin typeface="+mn-lt"/>
                <a:ea typeface="+mj-ea"/>
                <a:cs typeface="+mj-cs"/>
              </a:rPr>
              <a:t>Click to edit Master text styles</a:t>
            </a:r>
          </a:p>
          <a:p>
            <a:pPr marL="182563" marR="0" lvl="1"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n-lt"/>
                <a:ea typeface="+mn-ea"/>
                <a:cs typeface="+mn-cs"/>
              </a:rPr>
              <a:t>Second level</a:t>
            </a:r>
          </a:p>
          <a:p>
            <a:pPr marL="357188" marR="0" lvl="2"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mn-lt"/>
                <a:ea typeface="+mn-ea"/>
                <a:cs typeface="+mn-cs"/>
              </a:rPr>
              <a:t>Third level</a:t>
            </a:r>
          </a:p>
          <a:p>
            <a:pPr marL="539750" marR="0" lvl="3"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mn-lt"/>
                <a:ea typeface="+mn-ea"/>
                <a:cs typeface="+mn-cs"/>
              </a:rPr>
              <a:t>Fourth level</a:t>
            </a:r>
          </a:p>
          <a:p>
            <a:pPr marL="714375" marR="0" lvl="4"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17"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18"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19" name="Rectangle 18"/>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1879867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dirty="0">
              <a:solidFill>
                <a:prstClr val="black"/>
              </a:solidFill>
            </a:endParaRPr>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dirty="0">
              <a:solidFill>
                <a:prstClr val="black"/>
              </a:solidFill>
            </a:endParaRPr>
          </a:p>
        </p:txBody>
      </p:sp>
      <p:sp>
        <p:nvSpPr>
          <p:cNvPr id="11" name="Title 3"/>
          <p:cNvSpPr>
            <a:spLocks noGrp="1"/>
          </p:cNvSpPr>
          <p:nvPr>
            <p:ph type="title"/>
          </p:nvPr>
        </p:nvSpPr>
        <p:spPr>
          <a:xfrm>
            <a:off x="379412" y="379414"/>
            <a:ext cx="11425237" cy="457200"/>
          </a:xfrm>
        </p:spPr>
        <p:txBody>
          <a:bodyPr/>
          <a:lstStyle/>
          <a:p>
            <a:r>
              <a:rPr lang="en-US" dirty="0"/>
              <a:t>Click to edit Master title style</a:t>
            </a:r>
            <a:endParaRPr lang="en-GB" dirty="0"/>
          </a:p>
        </p:txBody>
      </p:sp>
      <p:sp>
        <p:nvSpPr>
          <p:cNvPr id="12"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13" name="Rectangle 12"/>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8491182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13472199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2128759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_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p:cNvSpPr/>
          <p:nvPr userDrawn="1"/>
        </p:nvSpPr>
        <p:spPr>
          <a:xfrm>
            <a:off x="0" y="1652428"/>
            <a:ext cx="8210550" cy="1994392"/>
          </a:xfrm>
          <a:prstGeom prst="rect">
            <a:avLst/>
          </a:prstGeom>
          <a:gradFill>
            <a:gsLst>
              <a:gs pos="0">
                <a:srgbClr val="65553C">
                  <a:alpha val="37000"/>
                </a:srgbClr>
              </a:gs>
              <a:gs pos="70000">
                <a:srgbClr val="654E47">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48852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_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5" name="Rectangle 4"/>
          <p:cNvSpPr/>
          <p:nvPr userDrawn="1"/>
        </p:nvSpPr>
        <p:spPr>
          <a:xfrm>
            <a:off x="0" y="1500850"/>
            <a:ext cx="8210550" cy="2145970"/>
          </a:xfrm>
          <a:prstGeom prst="rect">
            <a:avLst/>
          </a:prstGeom>
          <a:gradFill>
            <a:gsLst>
              <a:gs pos="0">
                <a:srgbClr val="629324">
                  <a:alpha val="66000"/>
                </a:srgbClr>
              </a:gs>
              <a:gs pos="70000">
                <a:srgbClr val="68942C">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57649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bg1"/>
                </a:solidFill>
                <a:effectLst>
                  <a:outerShdw blurRad="50800" dist="38100" dir="5400000" algn="t" rotWithShape="0">
                    <a:prstClr val="black">
                      <a:alpha val="40000"/>
                    </a:prstClr>
                  </a:outerShdw>
                </a:effectLst>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96447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4_Cover_2 REVERSED line/subhea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2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9" name="Rectangle 8"/>
          <p:cNvSpPr/>
          <p:nvPr userDrawn="1"/>
        </p:nvSpPr>
        <p:spPr>
          <a:xfrm>
            <a:off x="0" y="1652428"/>
            <a:ext cx="8210550" cy="1994392"/>
          </a:xfrm>
          <a:prstGeom prst="rect">
            <a:avLst/>
          </a:prstGeom>
          <a:gradFill>
            <a:gsLst>
              <a:gs pos="0">
                <a:srgbClr val="03060D">
                  <a:alpha val="34000"/>
                </a:srgbClr>
              </a:gs>
              <a:gs pos="70000">
                <a:srgbClr val="686963">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defTabSz="914400" rtl="0" eaLnBrk="1" latinLnBrk="0" hangingPunct="1">
              <a:lnSpc>
                <a:spcPct val="80000"/>
              </a:lnSpc>
              <a:spcBef>
                <a:spcPct val="0"/>
              </a:spcBef>
              <a:buNone/>
              <a:defRPr lang="en-GB" sz="7200" b="0" kern="1200" dirty="0">
                <a:solidFill>
                  <a:schemeClr val="bg1"/>
                </a:solidFill>
                <a:effectLst>
                  <a:outerShdw blurRad="50800" dist="38100" dir="5400000" algn="t" rotWithShape="0">
                    <a:prstClr val="black">
                      <a:alpha val="40000"/>
                    </a:prstClr>
                  </a:outerShdw>
                </a:effectLst>
                <a:latin typeface="3M Circular TT Bold" panose="020B0804020101010102" pitchFamily="34" charset="0"/>
                <a:ea typeface="+mj-ea"/>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16" name="Picture 15"/>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71422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3_Title, Sub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3" y="379414"/>
            <a:ext cx="11425237" cy="457200"/>
          </a:xfrm>
        </p:spPr>
        <p:txBody>
          <a:bodyPr/>
          <a:lstStyle/>
          <a:p>
            <a:r>
              <a:rPr lang="en-US"/>
              <a:t>Click to edit Master title style</a:t>
            </a:r>
            <a:endParaRPr lang="en-GB"/>
          </a:p>
        </p:txBody>
      </p:sp>
      <p:sp>
        <p:nvSpPr>
          <p:cNvPr id="7" name="Freeform 5"/>
          <p:cNvSpPr>
            <a:spLocks noEditPoints="1"/>
          </p:cNvSpPr>
          <p:nvPr userDrawn="1"/>
        </p:nvSpPr>
        <p:spPr bwMode="auto">
          <a:xfrm>
            <a:off x="5913041" y="6475415"/>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8" name="TextBox 7"/>
          <p:cNvSpPr txBox="1"/>
          <p:nvPr userDrawn="1"/>
        </p:nvSpPr>
        <p:spPr>
          <a:xfrm>
            <a:off x="11590811" y="6596403"/>
            <a:ext cx="218681" cy="123111"/>
          </a:xfrm>
          <a:prstGeom prst="rect">
            <a:avLst/>
          </a:prstGeom>
          <a:noFill/>
        </p:spPr>
        <p:txBody>
          <a:bodyPr wrap="square" lIns="0" tIns="0" rIns="0" bIns="0" rtlCol="0">
            <a:spAutoFit/>
          </a:bodyPr>
          <a:lstStyle/>
          <a:p>
            <a:pPr algn="r"/>
            <a:fld id="{29B7B62B-0732-4BEA-A6C8-5CF96588F2B9}" type="slidenum">
              <a:rPr lang="en-US" sz="800">
                <a:solidFill>
                  <a:prstClr val="black"/>
                </a:solidFill>
              </a:rPr>
              <a:pPr algn="r"/>
              <a:t>‹#›</a:t>
            </a:fld>
            <a:endParaRPr lang="en-US" sz="800" err="1">
              <a:solidFill>
                <a:prstClr val="black"/>
              </a:solidFill>
            </a:endParaRPr>
          </a:p>
        </p:txBody>
      </p:sp>
      <p:sp>
        <p:nvSpPr>
          <p:cNvPr id="6" name="Text Placeholder 4"/>
          <p:cNvSpPr>
            <a:spLocks noGrp="1"/>
          </p:cNvSpPr>
          <p:nvPr>
            <p:ph type="body" sz="quarter" idx="10"/>
          </p:nvPr>
        </p:nvSpPr>
        <p:spPr>
          <a:xfrm>
            <a:off x="381001" y="841248"/>
            <a:ext cx="11430000" cy="365760"/>
          </a:xfrm>
        </p:spPr>
        <p:txBody>
          <a:bodyPr/>
          <a:lstStyle>
            <a:lvl1pPr>
              <a:defRPr sz="2000">
                <a:solidFill>
                  <a:schemeClr val="bg1">
                    <a:lumMod val="50000"/>
                  </a:schemeClr>
                </a:solidFill>
              </a:defRPr>
            </a:lvl1pPr>
          </a:lstStyle>
          <a:p>
            <a:pPr lvl="0"/>
            <a:r>
              <a:rPr lang="en-US" dirty="0"/>
              <a:t>Click to edit Master text styles</a:t>
            </a:r>
          </a:p>
        </p:txBody>
      </p:sp>
    </p:spTree>
    <p:extLst>
      <p:ext uri="{BB962C8B-B14F-4D97-AF65-F5344CB8AC3E}">
        <p14:creationId xmlns:p14="http://schemas.microsoft.com/office/powerpoint/2010/main" val="3035204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3"/>
            <a:ext cx="11425237" cy="822960"/>
          </a:xfrm>
        </p:spPr>
        <p:txBody>
          <a:bodyPr/>
          <a:lstStyle/>
          <a:p>
            <a:r>
              <a:rPr lang="en-US"/>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err="1">
              <a:solidFill>
                <a:prstClr val="black"/>
              </a:solidFill>
            </a:endParaRPr>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486293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821373"/>
          </a:xfrm>
        </p:spPr>
        <p:txBody>
          <a:bodyPr/>
          <a:lstStyle/>
          <a:p>
            <a:r>
              <a:rPr lang="en-US"/>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31 October 2018</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767340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a:xfrm>
            <a:off x="379412" y="379414"/>
            <a:ext cx="11425237" cy="457200"/>
          </a:xfrm>
        </p:spPr>
        <p:txBody>
          <a:bodyPr/>
          <a:lstStyle/>
          <a:p>
            <a:r>
              <a:rPr lang="en-US"/>
              <a:t>Click to edit Master title style</a:t>
            </a:r>
            <a:endParaRPr lang="en-GB" dirty="0"/>
          </a:p>
        </p:txBody>
      </p:sp>
      <p:sp>
        <p:nvSpPr>
          <p:cNvPr id="5" name="Content Placeholder 4"/>
          <p:cNvSpPr>
            <a:spLocks noGrp="1"/>
          </p:cNvSpPr>
          <p:nvPr>
            <p:ph sz="quarter" idx="15"/>
          </p:nvPr>
        </p:nvSpPr>
        <p:spPr>
          <a:xfrm>
            <a:off x="379410" y="1295401"/>
            <a:ext cx="11430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err="1">
              <a:solidFill>
                <a:prstClr val="black"/>
              </a:solidFill>
            </a:endParaRPr>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0"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7778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Ins="0"/>
          <a:lstStyle/>
          <a:p>
            <a:r>
              <a:rPr lang="en-US"/>
              <a:t>Click to edit Master title style</a:t>
            </a:r>
            <a:endParaRPr lang="en-GB" dirty="0"/>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err="1">
              <a:solidFill>
                <a:prstClr val="black"/>
              </a:solidFill>
            </a:endParaRPr>
          </a:p>
        </p:txBody>
      </p:sp>
      <p:grpSp>
        <p:nvGrpSpPr>
          <p:cNvPr id="5" name="Group 22"/>
          <p:cNvGrpSpPr>
            <a:grpSpLocks/>
          </p:cNvGrpSpPr>
          <p:nvPr userDrawn="1"/>
        </p:nvGrpSpPr>
        <p:grpSpPr bwMode="auto">
          <a:xfrm>
            <a:off x="-264086" y="6596401"/>
            <a:ext cx="2147228" cy="184155"/>
            <a:chOff x="9374212" y="6574531"/>
            <a:chExt cx="2147228" cy="182885"/>
          </a:xfrm>
        </p:grpSpPr>
        <p:grpSp>
          <p:nvGrpSpPr>
            <p:cNvPr id="6" name="Group 8"/>
            <p:cNvGrpSpPr>
              <a:grpSpLocks/>
            </p:cNvGrpSpPr>
            <p:nvPr/>
          </p:nvGrpSpPr>
          <p:grpSpPr bwMode="auto">
            <a:xfrm>
              <a:off x="9374212" y="6574531"/>
              <a:ext cx="2147228" cy="182883"/>
              <a:chOff x="9378677" y="6574531"/>
              <a:chExt cx="2147228" cy="182883"/>
            </a:xfrm>
          </p:grpSpPr>
          <p:sp>
            <p:nvSpPr>
              <p:cNvPr id="8"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9"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0"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7"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1"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67236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Subtitle">
    <p:spTree>
      <p:nvGrpSpPr>
        <p:cNvPr id="1" name=""/>
        <p:cNvGrpSpPr/>
        <p:nvPr/>
      </p:nvGrpSpPr>
      <p:grpSpPr>
        <a:xfrm>
          <a:off x="0" y="0"/>
          <a:ext cx="0" cy="0"/>
          <a:chOff x="0" y="0"/>
          <a:chExt cx="0" cy="0"/>
        </a:xfrm>
      </p:grpSpPr>
      <p:sp>
        <p:nvSpPr>
          <p:cNvPr id="2" name="Title 1"/>
          <p:cNvSpPr>
            <a:spLocks noGrp="1"/>
          </p:cNvSpPr>
          <p:nvPr>
            <p:ph type="title"/>
          </p:nvPr>
        </p:nvSpPr>
        <p:spPr>
          <a:xfrm>
            <a:off x="379412" y="381000"/>
            <a:ext cx="11425237" cy="457200"/>
          </a:xfrm>
        </p:spPr>
        <p:txBody>
          <a:bodyPr rIns="0"/>
          <a:lstStyle/>
          <a:p>
            <a:r>
              <a:rPr lang="en-US"/>
              <a:t>Click to edit Master title style</a:t>
            </a:r>
            <a:endParaRPr lang="en-GB" dirty="0"/>
          </a:p>
        </p:txBody>
      </p:sp>
      <p:sp>
        <p:nvSpPr>
          <p:cNvPr id="5"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6" name="TextBox 5"/>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err="1">
              <a:solidFill>
                <a:prstClr val="black"/>
              </a:solidFill>
            </a:endParaRPr>
          </a:p>
        </p:txBody>
      </p:sp>
      <p:grpSp>
        <p:nvGrpSpPr>
          <p:cNvPr id="7" name="Group 22"/>
          <p:cNvGrpSpPr>
            <a:grpSpLocks/>
          </p:cNvGrpSpPr>
          <p:nvPr userDrawn="1"/>
        </p:nvGrpSpPr>
        <p:grpSpPr bwMode="auto">
          <a:xfrm>
            <a:off x="-264086" y="6596401"/>
            <a:ext cx="2147228" cy="184155"/>
            <a:chOff x="9374212" y="6574531"/>
            <a:chExt cx="2147228" cy="182885"/>
          </a:xfrm>
        </p:grpSpPr>
        <p:grpSp>
          <p:nvGrpSpPr>
            <p:cNvPr id="8"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890837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822960"/>
          </a:xfrm>
        </p:spPr>
        <p:txBody>
          <a:bodyPr/>
          <a:lstStyle/>
          <a:p>
            <a:r>
              <a:rPr lang="en-US"/>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err="1">
              <a:solidFill>
                <a:prstClr val="black"/>
              </a:solidFill>
            </a:endParaRPr>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2"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3"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4"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1"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5"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945582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79414"/>
            <a:ext cx="11425237" cy="457200"/>
          </a:xfrm>
        </p:spPr>
        <p:txBody>
          <a:bodyPr/>
          <a:lstStyle/>
          <a:p>
            <a:r>
              <a:rPr lang="en-US"/>
              <a:t>Click to edit Master title style</a:t>
            </a:r>
            <a:endParaRPr lang="en-GB" dirty="0"/>
          </a:p>
        </p:txBody>
      </p:sp>
      <p:sp>
        <p:nvSpPr>
          <p:cNvPr id="5" name="Content Placeholder 4"/>
          <p:cNvSpPr>
            <a:spLocks noGrp="1"/>
          </p:cNvSpPr>
          <p:nvPr>
            <p:ph sz="quarter" idx="15"/>
          </p:nvPr>
        </p:nvSpPr>
        <p:spPr>
          <a:xfrm>
            <a:off x="37941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9"/>
          <p:cNvSpPr>
            <a:spLocks noGrp="1"/>
          </p:cNvSpPr>
          <p:nvPr>
            <p:ph sz="quarter" idx="16"/>
          </p:nvPr>
        </p:nvSpPr>
        <p:spPr>
          <a:xfrm>
            <a:off x="6096000" y="1295401"/>
            <a:ext cx="571500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Text Placeholder 4"/>
          <p:cNvSpPr>
            <a:spLocks noGrp="1"/>
          </p:cNvSpPr>
          <p:nvPr>
            <p:ph type="body" sz="quarter" idx="10"/>
          </p:nvPr>
        </p:nvSpPr>
        <p:spPr>
          <a:xfrm>
            <a:off x="381000" y="841248"/>
            <a:ext cx="11430000" cy="365760"/>
          </a:xfrm>
        </p:spPr>
        <p:txBody>
          <a:bodyPr/>
          <a:lstStyle>
            <a:lvl1pPr>
              <a:defRPr sz="2400"/>
            </a:lvl1pPr>
          </a:lstStyle>
          <a:p>
            <a:pPr lvl="0"/>
            <a:r>
              <a:rPr lang="en-US"/>
              <a:t>Click to edit Master text styles</a:t>
            </a:r>
          </a:p>
        </p:txBody>
      </p:sp>
      <p:sp>
        <p:nvSpPr>
          <p:cNvPr id="7"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8" name="TextBox 7"/>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err="1">
              <a:solidFill>
                <a:prstClr val="black"/>
              </a:solidFill>
            </a:endParaRPr>
          </a:p>
        </p:txBody>
      </p:sp>
      <p:grpSp>
        <p:nvGrpSpPr>
          <p:cNvPr id="9"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4057382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821373"/>
          </a:xfrm>
        </p:spPr>
        <p:txBody>
          <a:bodyPr/>
          <a:lstStyle/>
          <a:p>
            <a:r>
              <a:rPr lang="en-US"/>
              <a:t>Click to edit Master title style</a:t>
            </a:r>
            <a:endParaRPr lang="en-GB" dirty="0"/>
          </a:p>
        </p:txBody>
      </p:sp>
      <p:sp>
        <p:nvSpPr>
          <p:cNvPr id="5"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Content Placeholder 4"/>
          <p:cNvSpPr>
            <a:spLocks noGrp="1"/>
          </p:cNvSpPr>
          <p:nvPr>
            <p:ph sz="quarter" idx="14"/>
          </p:nvPr>
        </p:nvSpPr>
        <p:spPr>
          <a:xfrm>
            <a:off x="4187952" y="1295401"/>
            <a:ext cx="3803904"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Content Placeholder 4"/>
          <p:cNvSpPr>
            <a:spLocks noGrp="1"/>
          </p:cNvSpPr>
          <p:nvPr>
            <p:ph sz="quarter" idx="15"/>
          </p:nvPr>
        </p:nvSpPr>
        <p:spPr>
          <a:xfrm>
            <a:off x="8010144" y="1295401"/>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err="1">
              <a:solidFill>
                <a:prstClr val="black"/>
              </a:solidFill>
            </a:endParaRPr>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738491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11" name="TextBox 10"/>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err="1">
              <a:solidFill>
                <a:prstClr val="black"/>
              </a:solidFill>
            </a:endParaRPr>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075188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Large Message">
    <p:spTree>
      <p:nvGrpSpPr>
        <p:cNvPr id="1" name=""/>
        <p:cNvGrpSpPr/>
        <p:nvPr/>
      </p:nvGrpSpPr>
      <p:grpSpPr>
        <a:xfrm>
          <a:off x="0" y="0"/>
          <a:ext cx="0" cy="0"/>
          <a:chOff x="0" y="0"/>
          <a:chExt cx="0" cy="0"/>
        </a:xfrm>
      </p:grpSpPr>
      <p:sp>
        <p:nvSpPr>
          <p:cNvPr id="5" name="Content Placeholder 4"/>
          <p:cNvSpPr>
            <a:spLocks noGrp="1"/>
          </p:cNvSpPr>
          <p:nvPr>
            <p:ph sz="quarter" idx="15"/>
          </p:nvPr>
        </p:nvSpPr>
        <p:spPr>
          <a:xfrm>
            <a:off x="379410" y="1298448"/>
            <a:ext cx="11431590" cy="4956048"/>
          </a:xfrm>
        </p:spPr>
        <p:txBody>
          <a:bodyPr/>
          <a:lstStyle>
            <a:lvl1pPr>
              <a:lnSpc>
                <a:spcPct val="90000"/>
              </a:lnSpc>
              <a:defRPr sz="4800">
                <a:latin typeface="+mj-lt"/>
              </a:defRPr>
            </a:lvl1pPr>
            <a:lvl2pPr>
              <a:defRPr sz="4400">
                <a:latin typeface="+mj-lt"/>
              </a:defRPr>
            </a:lvl2pPr>
            <a:lvl3pPr>
              <a:defRPr sz="4000">
                <a:latin typeface="+mj-lt"/>
              </a:defRPr>
            </a:lvl3pPr>
            <a:lvl4pPr>
              <a:defRPr sz="3600">
                <a:latin typeface="+mj-lt"/>
              </a:defRPr>
            </a:lvl4pPr>
            <a:lvl5pPr>
              <a:defRPr sz="3200">
                <a:latin typeface="+mj-lt"/>
              </a:defRPr>
            </a:lvl5pPr>
          </a:lstStyle>
          <a:p>
            <a:pPr lvl="0"/>
            <a:r>
              <a:rPr lang="en-US"/>
              <a:t>Click to edit Master text styles</a:t>
            </a:r>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err="1">
              <a:solidFill>
                <a:prstClr val="black"/>
              </a:solidFill>
            </a:endParaRPr>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556237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Content Placeholder 2"/>
          <p:cNvSpPr>
            <a:spLocks noGrp="1"/>
          </p:cNvSpPr>
          <p:nvPr>
            <p:ph idx="1"/>
          </p:nvPr>
        </p:nvSpPr>
        <p:spPr>
          <a:xfrm>
            <a:off x="379412" y="384048"/>
            <a:ext cx="11430000" cy="5864352"/>
          </a:xfrm>
        </p:spPr>
        <p:txBody>
          <a:bodyPr rIns="0"/>
          <a:lstStyle>
            <a:lvl1pPr>
              <a:lnSpc>
                <a:spcPct val="90000"/>
              </a:lnSpc>
              <a:defRPr sz="3200">
                <a:latin typeface="+mj-lt"/>
              </a:defRPr>
            </a:lvl1pPr>
            <a:lvl2pPr marL="0" indent="0">
              <a:spcAft>
                <a:spcPts val="1200"/>
              </a:spcAft>
              <a:buNone/>
              <a:defRPr sz="2200">
                <a:latin typeface="+mj-lt"/>
              </a:defRPr>
            </a:lvl2pPr>
          </a:lstStyle>
          <a:p>
            <a:pPr lvl="0"/>
            <a:r>
              <a:rPr lang="en-US"/>
              <a:t>Click to edit Master text styles</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err="1">
              <a:solidFill>
                <a:prstClr val="black"/>
              </a:solidFill>
            </a:endParaRPr>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596319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3" name="Content Placeholder 2"/>
          <p:cNvSpPr>
            <a:spLocks noGrp="1"/>
          </p:cNvSpPr>
          <p:nvPr>
            <p:ph idx="1"/>
          </p:nvPr>
        </p:nvSpPr>
        <p:spPr>
          <a:xfrm>
            <a:off x="384048" y="384048"/>
            <a:ext cx="11426952" cy="5861304"/>
          </a:xfrm>
        </p:spPr>
        <p:txBody>
          <a:bodyPr r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err="1">
              <a:solidFill>
                <a:prstClr val="black"/>
              </a:solidFill>
            </a:endParaRPr>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410627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sp>
        <p:nvSpPr>
          <p:cNvPr id="4" name="Title 3"/>
          <p:cNvSpPr>
            <a:spLocks noGrp="1"/>
          </p:cNvSpPr>
          <p:nvPr>
            <p:ph type="title"/>
          </p:nvPr>
        </p:nvSpPr>
        <p:spPr>
          <a:xfrm>
            <a:off x="379412" y="380999"/>
            <a:ext cx="11425237" cy="457200"/>
          </a:xfrm>
        </p:spPr>
        <p:txBody>
          <a:bodyPr/>
          <a:lstStyle/>
          <a:p>
            <a:r>
              <a:rPr lang="en-US"/>
              <a:t>Click to edit Master title style</a:t>
            </a:r>
            <a:endParaRPr lang="en-GB" dirty="0"/>
          </a:p>
        </p:txBody>
      </p:sp>
      <p:sp>
        <p:nvSpPr>
          <p:cNvPr id="6" name="Text Placeholder 4"/>
          <p:cNvSpPr>
            <a:spLocks noGrp="1"/>
          </p:cNvSpPr>
          <p:nvPr>
            <p:ph type="body" sz="quarter" idx="10"/>
          </p:nvPr>
        </p:nvSpPr>
        <p:spPr>
          <a:xfrm>
            <a:off x="384048" y="841248"/>
            <a:ext cx="11430000" cy="365760"/>
          </a:xfrm>
        </p:spPr>
        <p:txBody>
          <a:bodyPr/>
          <a:lstStyle>
            <a:lvl1pPr>
              <a:defRPr sz="2400"/>
            </a:lvl1pPr>
          </a:lstStyle>
          <a:p>
            <a:pPr lvl="0"/>
            <a:r>
              <a:rPr lang="en-US"/>
              <a:t>Click to edit Master text styles</a:t>
            </a:r>
          </a:p>
        </p:txBody>
      </p:sp>
      <p:sp>
        <p:nvSpPr>
          <p:cNvPr id="7" name="Content Placeholder 4"/>
          <p:cNvSpPr>
            <a:spLocks noGrp="1"/>
          </p:cNvSpPr>
          <p:nvPr>
            <p:ph sz="quarter" idx="13"/>
          </p:nvPr>
        </p:nvSpPr>
        <p:spPr>
          <a:xfrm>
            <a:off x="379412" y="1295401"/>
            <a:ext cx="3794760" cy="4953000"/>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Content Placeholder 4"/>
          <p:cNvSpPr>
            <a:spLocks noGrp="1"/>
          </p:cNvSpPr>
          <p:nvPr>
            <p:ph sz="quarter" idx="14"/>
          </p:nvPr>
        </p:nvSpPr>
        <p:spPr>
          <a:xfrm>
            <a:off x="4187952" y="1295401"/>
            <a:ext cx="3803904"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4"/>
          <p:cNvSpPr>
            <a:spLocks noGrp="1"/>
          </p:cNvSpPr>
          <p:nvPr>
            <p:ph sz="quarter" idx="15"/>
          </p:nvPr>
        </p:nvSpPr>
        <p:spPr>
          <a:xfrm>
            <a:off x="8010144" y="1295401"/>
            <a:ext cx="3794760"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11" name="TextBox 10"/>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12" name="Group 22"/>
          <p:cNvGrpSpPr>
            <a:grpSpLocks/>
          </p:cNvGrpSpPr>
          <p:nvPr userDrawn="1"/>
        </p:nvGrpSpPr>
        <p:grpSpPr bwMode="auto">
          <a:xfrm>
            <a:off x="-264086" y="6596401"/>
            <a:ext cx="2147228" cy="184155"/>
            <a:chOff x="9374212" y="6574531"/>
            <a:chExt cx="2147228" cy="182885"/>
          </a:xfrm>
        </p:grpSpPr>
        <p:grpSp>
          <p:nvGrpSpPr>
            <p:cNvPr id="13" name="Group 8"/>
            <p:cNvGrpSpPr>
              <a:grpSpLocks/>
            </p:cNvGrpSpPr>
            <p:nvPr/>
          </p:nvGrpSpPr>
          <p:grpSpPr bwMode="auto">
            <a:xfrm>
              <a:off x="9374212" y="6574531"/>
              <a:ext cx="2147228" cy="182883"/>
              <a:chOff x="9378677" y="6574531"/>
              <a:chExt cx="2147228" cy="182883"/>
            </a:xfrm>
          </p:grpSpPr>
          <p:sp>
            <p:nvSpPr>
              <p:cNvPr id="15"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6"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31 October 2018</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7"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14"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8"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95902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 Content Only_ 1/3  2/3">
    <p:spTree>
      <p:nvGrpSpPr>
        <p:cNvPr id="1" name=""/>
        <p:cNvGrpSpPr/>
        <p:nvPr/>
      </p:nvGrpSpPr>
      <p:grpSpPr>
        <a:xfrm>
          <a:off x="0" y="0"/>
          <a:ext cx="0" cy="0"/>
          <a:chOff x="0" y="0"/>
          <a:chExt cx="0" cy="0"/>
        </a:xfrm>
      </p:grpSpPr>
      <p:sp>
        <p:nvSpPr>
          <p:cNvPr id="4"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5" name="Content Placeholder 4"/>
          <p:cNvSpPr>
            <a:spLocks noGrp="1"/>
          </p:cNvSpPr>
          <p:nvPr>
            <p:ph sz="quarter" idx="14"/>
          </p:nvPr>
        </p:nvSpPr>
        <p:spPr>
          <a:xfrm>
            <a:off x="4187952" y="384048"/>
            <a:ext cx="7623048"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7" name="TextBox 6"/>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err="1">
              <a:solidFill>
                <a:prstClr val="black"/>
              </a:solidFill>
            </a:endParaRPr>
          </a:p>
        </p:txBody>
      </p:sp>
      <p:grpSp>
        <p:nvGrpSpPr>
          <p:cNvPr id="8" name="Group 22"/>
          <p:cNvGrpSpPr>
            <a:grpSpLocks/>
          </p:cNvGrpSpPr>
          <p:nvPr userDrawn="1"/>
        </p:nvGrpSpPr>
        <p:grpSpPr bwMode="auto">
          <a:xfrm>
            <a:off x="-264086" y="6596401"/>
            <a:ext cx="2147228" cy="184155"/>
            <a:chOff x="9374212" y="6574531"/>
            <a:chExt cx="2147228" cy="182885"/>
          </a:xfrm>
        </p:grpSpPr>
        <p:grpSp>
          <p:nvGrpSpPr>
            <p:cNvPr id="9" name="Group 8"/>
            <p:cNvGrpSpPr>
              <a:grpSpLocks/>
            </p:cNvGrpSpPr>
            <p:nvPr/>
          </p:nvGrpSpPr>
          <p:grpSpPr bwMode="auto">
            <a:xfrm>
              <a:off x="9374212" y="6574531"/>
              <a:ext cx="2147228" cy="182883"/>
              <a:chOff x="9378677" y="6574531"/>
              <a:chExt cx="2147228" cy="182883"/>
            </a:xfrm>
          </p:grpSpPr>
          <p:sp>
            <p:nvSpPr>
              <p:cNvPr id="11"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2"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3"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0"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4"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20466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Content Only">
    <p:spTree>
      <p:nvGrpSpPr>
        <p:cNvPr id="1" name=""/>
        <p:cNvGrpSpPr/>
        <p:nvPr/>
      </p:nvGrpSpPr>
      <p:grpSpPr>
        <a:xfrm>
          <a:off x="0" y="0"/>
          <a:ext cx="0" cy="0"/>
          <a:chOff x="0" y="0"/>
          <a:chExt cx="0" cy="0"/>
        </a:xfrm>
      </p:grpSpPr>
      <p:sp>
        <p:nvSpPr>
          <p:cNvPr id="5" name="Content Placeholder 4"/>
          <p:cNvSpPr>
            <a:spLocks noGrp="1"/>
          </p:cNvSpPr>
          <p:nvPr>
            <p:ph sz="quarter" idx="13"/>
          </p:nvPr>
        </p:nvSpPr>
        <p:spPr>
          <a:xfrm>
            <a:off x="379412" y="384048"/>
            <a:ext cx="3794760" cy="5861304"/>
          </a:xfrm>
        </p:spPr>
        <p:txBody>
          <a:bodyPr/>
          <a:lstStyle>
            <a:lvl1pPr marL="0" marR="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sz="2000"/>
            </a:lvl1pPr>
            <a:lvl2pPr marL="182563"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2pPr>
            <a:lvl3pPr marL="357188"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3pPr>
            <a:lvl4pPr marL="539750" marR="0" indent="-182563"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4pPr>
            <a:lvl5pPr marL="714375" marR="0" indent="-174625" algn="l" defTabSz="914400" rtl="0" eaLnBrk="1" fontAlgn="auto" latinLnBrk="0" hangingPunct="1">
              <a:lnSpc>
                <a:spcPct val="110000"/>
              </a:lnSpc>
              <a:spcBef>
                <a:spcPts val="0"/>
              </a:spcBef>
              <a:spcAft>
                <a:spcPts val="600"/>
              </a:spcAft>
              <a:buClrTx/>
              <a:buSzTx/>
              <a:buFont typeface="Arial" panose="020B0604020202020204" pitchFamily="34" charset="0"/>
              <a:buChar char="•"/>
              <a:tabLst/>
              <a:defRPr sz="2000"/>
            </a:lvl5pPr>
          </a:lstStyle>
          <a:p>
            <a:pPr marL="0" marR="0" lvl="0"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Click to edit Master text styles</a:t>
            </a:r>
          </a:p>
          <a:p>
            <a:pPr marL="0" marR="0" lvl="1"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Second level</a:t>
            </a:r>
          </a:p>
          <a:p>
            <a:pPr marL="0" marR="0" lvl="2"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Third level</a:t>
            </a:r>
          </a:p>
          <a:p>
            <a:pPr marL="0" marR="0" lvl="3"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ourth level</a:t>
            </a:r>
          </a:p>
          <a:p>
            <a:pPr marL="0" marR="0" lvl="4" indent="0" algn="l"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kumimoji="0" lang="en-US" sz="2000" b="0" i="0" u="none" strike="noStrike" kern="1200" cap="none" spc="0" normalizeH="0" baseline="0" noProof="0">
                <a:ln>
                  <a:noFill/>
                </a:ln>
                <a:solidFill>
                  <a:prstClr val="black"/>
                </a:solidFill>
                <a:effectLst/>
                <a:uLnTx/>
                <a:uFillTx/>
                <a:latin typeface="+mn-lt"/>
                <a:ea typeface="+mj-ea"/>
                <a:cs typeface="+mj-cs"/>
              </a:rPr>
              <a:t>Fifth level</a:t>
            </a:r>
            <a:endParaRPr kumimoji="0" lang="en-GB"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6" name="Content Placeholder 4"/>
          <p:cNvSpPr>
            <a:spLocks noGrp="1"/>
          </p:cNvSpPr>
          <p:nvPr>
            <p:ph sz="quarter" idx="14"/>
          </p:nvPr>
        </p:nvSpPr>
        <p:spPr>
          <a:xfrm>
            <a:off x="4187952" y="384048"/>
            <a:ext cx="3803904"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4"/>
          <p:cNvSpPr>
            <a:spLocks noGrp="1"/>
          </p:cNvSpPr>
          <p:nvPr>
            <p:ph sz="quarter" idx="15"/>
          </p:nvPr>
        </p:nvSpPr>
        <p:spPr>
          <a:xfrm>
            <a:off x="8010144" y="384048"/>
            <a:ext cx="3794760"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err="1">
              <a:solidFill>
                <a:prstClr val="black"/>
              </a:solidFill>
            </a:endParaRPr>
          </a:p>
        </p:txBody>
      </p:sp>
      <p:grpSp>
        <p:nvGrpSpPr>
          <p:cNvPr id="10" name="Group 22"/>
          <p:cNvGrpSpPr>
            <a:grpSpLocks/>
          </p:cNvGrpSpPr>
          <p:nvPr userDrawn="1"/>
        </p:nvGrpSpPr>
        <p:grpSpPr bwMode="auto">
          <a:xfrm>
            <a:off x="-264086" y="6596401"/>
            <a:ext cx="2147228" cy="184155"/>
            <a:chOff x="9374212" y="6574531"/>
            <a:chExt cx="2147228" cy="182885"/>
          </a:xfrm>
        </p:grpSpPr>
        <p:grpSp>
          <p:nvGrpSpPr>
            <p:cNvPr id="11" name="Group 8"/>
            <p:cNvGrpSpPr>
              <a:grpSpLocks/>
            </p:cNvGrpSpPr>
            <p:nvPr/>
          </p:nvGrpSpPr>
          <p:grpSpPr bwMode="auto">
            <a:xfrm>
              <a:off x="9374212" y="6574531"/>
              <a:ext cx="2147228" cy="182883"/>
              <a:chOff x="9378677" y="6574531"/>
              <a:chExt cx="2147228" cy="182883"/>
            </a:xfrm>
          </p:grpSpPr>
          <p:sp>
            <p:nvSpPr>
              <p:cNvPr id="13"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4"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5"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2"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6"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002305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Image">
    <p:spTree>
      <p:nvGrpSpPr>
        <p:cNvPr id="1" name=""/>
        <p:cNvGrpSpPr/>
        <p:nvPr/>
      </p:nvGrpSpPr>
      <p:grpSpPr>
        <a:xfrm>
          <a:off x="0" y="0"/>
          <a:ext cx="0" cy="0"/>
          <a:chOff x="0" y="0"/>
          <a:chExt cx="0" cy="0"/>
        </a:xfrm>
      </p:grpSpPr>
      <p:sp>
        <p:nvSpPr>
          <p:cNvPr id="8" name="Content Placeholder 4"/>
          <p:cNvSpPr>
            <a:spLocks noGrp="1"/>
          </p:cNvSpPr>
          <p:nvPr>
            <p:ph sz="quarter" idx="13"/>
          </p:nvPr>
        </p:nvSpPr>
        <p:spPr>
          <a:xfrm>
            <a:off x="384048" y="383675"/>
            <a:ext cx="7616952" cy="586130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Picture Placeholder 2"/>
          <p:cNvSpPr>
            <a:spLocks noGrp="1"/>
          </p:cNvSpPr>
          <p:nvPr>
            <p:ph type="pic" sz="quarter" idx="14"/>
          </p:nvPr>
        </p:nvSpPr>
        <p:spPr>
          <a:xfrm>
            <a:off x="8019288" y="381000"/>
            <a:ext cx="3794760" cy="5864225"/>
          </a:xfrm>
          <a:solidFill>
            <a:schemeClr val="bg1">
              <a:lumMod val="85000"/>
            </a:schemeClr>
          </a:solidFill>
        </p:spPr>
        <p:txBody>
          <a:bodyPr/>
          <a:lstStyle/>
          <a:p>
            <a:r>
              <a:rPr lang="en-US"/>
              <a:t>Click icon to add picture</a:t>
            </a:r>
          </a:p>
        </p:txBody>
      </p:sp>
      <p:sp>
        <p:nvSpPr>
          <p:cNvPr id="4"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5" name="TextBox 4"/>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err="1">
              <a:solidFill>
                <a:prstClr val="black"/>
              </a:solidFill>
            </a:endParaRPr>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10"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11"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12"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9"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3"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343748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6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384048" y="384048"/>
            <a:ext cx="3816000" cy="2930652"/>
          </a:xfrm>
          <a:solidFill>
            <a:schemeClr val="bg1">
              <a:lumMod val="85000"/>
            </a:schemeClr>
          </a:solidFill>
        </p:spPr>
        <p:txBody>
          <a:bodyPr lIns="0" rIns="0"/>
          <a:lstStyle/>
          <a:p>
            <a:r>
              <a:rPr lang="en-US"/>
              <a:t>Click icon to add picture</a:t>
            </a:r>
            <a:endParaRPr lang="en-GB"/>
          </a:p>
        </p:txBody>
      </p:sp>
      <p:sp>
        <p:nvSpPr>
          <p:cNvPr id="13" name="Picture Placeholder 9"/>
          <p:cNvSpPr>
            <a:spLocks noGrp="1"/>
          </p:cNvSpPr>
          <p:nvPr>
            <p:ph type="pic" sz="quarter" idx="16"/>
          </p:nvPr>
        </p:nvSpPr>
        <p:spPr>
          <a:xfrm>
            <a:off x="384048" y="3314646"/>
            <a:ext cx="3816000" cy="2935224"/>
          </a:xfrm>
          <a:solidFill>
            <a:schemeClr val="bg1">
              <a:lumMod val="85000"/>
            </a:schemeClr>
          </a:solidFill>
        </p:spPr>
        <p:txBody>
          <a:bodyPr lIns="0" rIns="0"/>
          <a:lstStyle/>
          <a:p>
            <a:r>
              <a:rPr lang="en-US"/>
              <a:t>Click icon to add picture</a:t>
            </a:r>
            <a:endParaRPr lang="en-GB"/>
          </a:p>
        </p:txBody>
      </p:sp>
      <p:sp>
        <p:nvSpPr>
          <p:cNvPr id="11" name="Picture Placeholder 9"/>
          <p:cNvSpPr>
            <a:spLocks noGrp="1"/>
          </p:cNvSpPr>
          <p:nvPr>
            <p:ph type="pic" sz="quarter" idx="14"/>
          </p:nvPr>
        </p:nvSpPr>
        <p:spPr>
          <a:xfrm>
            <a:off x="4187310" y="384048"/>
            <a:ext cx="3816000" cy="2930652"/>
          </a:xfrm>
          <a:solidFill>
            <a:schemeClr val="bg1">
              <a:lumMod val="85000"/>
            </a:schemeClr>
          </a:solidFill>
        </p:spPr>
        <p:txBody>
          <a:bodyPr lIns="0" rIns="0"/>
          <a:lstStyle/>
          <a:p>
            <a:r>
              <a:rPr lang="en-US"/>
              <a:t>Click icon to add picture</a:t>
            </a:r>
            <a:endParaRPr lang="en-GB"/>
          </a:p>
        </p:txBody>
      </p:sp>
      <p:sp>
        <p:nvSpPr>
          <p:cNvPr id="14" name="Picture Placeholder 9"/>
          <p:cNvSpPr>
            <a:spLocks noGrp="1"/>
          </p:cNvSpPr>
          <p:nvPr>
            <p:ph type="pic" sz="quarter" idx="17"/>
          </p:nvPr>
        </p:nvSpPr>
        <p:spPr>
          <a:xfrm>
            <a:off x="4187310" y="3314646"/>
            <a:ext cx="3816000" cy="2938462"/>
          </a:xfrm>
          <a:solidFill>
            <a:schemeClr val="bg1">
              <a:lumMod val="85000"/>
            </a:schemeClr>
          </a:solidFill>
        </p:spPr>
        <p:txBody>
          <a:bodyPr lIns="0" rIns="0"/>
          <a:lstStyle/>
          <a:p>
            <a:r>
              <a:rPr lang="en-US"/>
              <a:t>Click icon to add picture</a:t>
            </a:r>
            <a:endParaRPr lang="en-GB"/>
          </a:p>
        </p:txBody>
      </p:sp>
      <p:sp>
        <p:nvSpPr>
          <p:cNvPr id="12" name="Picture Placeholder 9"/>
          <p:cNvSpPr>
            <a:spLocks noGrp="1"/>
          </p:cNvSpPr>
          <p:nvPr>
            <p:ph type="pic" sz="quarter" idx="15"/>
          </p:nvPr>
        </p:nvSpPr>
        <p:spPr>
          <a:xfrm>
            <a:off x="8001000" y="384048"/>
            <a:ext cx="3816000" cy="2930652"/>
          </a:xfrm>
          <a:solidFill>
            <a:schemeClr val="bg1">
              <a:lumMod val="85000"/>
            </a:schemeClr>
          </a:solidFill>
        </p:spPr>
        <p:txBody>
          <a:bodyPr lIns="0" rIns="0"/>
          <a:lstStyle/>
          <a:p>
            <a:r>
              <a:rPr lang="en-US"/>
              <a:t>Click icon to add picture</a:t>
            </a:r>
            <a:endParaRPr lang="en-GB"/>
          </a:p>
        </p:txBody>
      </p:sp>
      <p:sp>
        <p:nvSpPr>
          <p:cNvPr id="15" name="Picture Placeholder 9"/>
          <p:cNvSpPr>
            <a:spLocks noGrp="1"/>
          </p:cNvSpPr>
          <p:nvPr>
            <p:ph type="pic" sz="quarter" idx="18"/>
          </p:nvPr>
        </p:nvSpPr>
        <p:spPr>
          <a:xfrm>
            <a:off x="8001000" y="3314646"/>
            <a:ext cx="3816000" cy="2938462"/>
          </a:xfrm>
          <a:solidFill>
            <a:schemeClr val="bg1">
              <a:lumMod val="85000"/>
            </a:schemeClr>
          </a:solidFill>
        </p:spPr>
        <p:txBody>
          <a:bodyPr lIns="0" rIns="0"/>
          <a:lstStyle/>
          <a:p>
            <a:r>
              <a:rPr lang="en-US"/>
              <a:t>Click icon to add picture</a:t>
            </a:r>
            <a:endParaRPr lang="en-GB"/>
          </a:p>
        </p:txBody>
      </p:sp>
      <p:sp>
        <p:nvSpPr>
          <p:cNvPr id="8"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9" name="TextBox 8"/>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err="1">
              <a:solidFill>
                <a:prstClr val="black"/>
              </a:solidFill>
            </a:endParaRPr>
          </a:p>
        </p:txBody>
      </p:sp>
      <p:grpSp>
        <p:nvGrpSpPr>
          <p:cNvPr id="16" name="Group 22"/>
          <p:cNvGrpSpPr>
            <a:grpSpLocks/>
          </p:cNvGrpSpPr>
          <p:nvPr userDrawn="1"/>
        </p:nvGrpSpPr>
        <p:grpSpPr bwMode="auto">
          <a:xfrm>
            <a:off x="-264086" y="6596401"/>
            <a:ext cx="2147228" cy="184155"/>
            <a:chOff x="9374212" y="6574531"/>
            <a:chExt cx="2147228" cy="182885"/>
          </a:xfrm>
        </p:grpSpPr>
        <p:grpSp>
          <p:nvGrpSpPr>
            <p:cNvPr id="17" name="Group 8"/>
            <p:cNvGrpSpPr>
              <a:grpSpLocks/>
            </p:cNvGrpSpPr>
            <p:nvPr/>
          </p:nvGrpSpPr>
          <p:grpSpPr bwMode="auto">
            <a:xfrm>
              <a:off x="9374212" y="6574531"/>
              <a:ext cx="2147228" cy="182883"/>
              <a:chOff x="9378677" y="6574531"/>
              <a:chExt cx="2147228" cy="182883"/>
            </a:xfrm>
          </p:grpSpPr>
          <p:sp>
            <p:nvSpPr>
              <p:cNvPr id="1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2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2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1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2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3014598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solidFill>
                <a:prstClr val="black"/>
              </a:solidFill>
            </a:endParaRPr>
          </a:p>
        </p:txBody>
      </p:sp>
      <p:sp>
        <p:nvSpPr>
          <p:cNvPr id="3" name="TextBox 2"/>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solidFill>
                  <a:prstClr val="black"/>
                </a:solidFill>
              </a:rPr>
              <a:pPr algn="r"/>
              <a:t>‹#›</a:t>
            </a:fld>
            <a:endParaRPr lang="en-US" sz="800" dirty="0" err="1">
              <a:solidFill>
                <a:prstClr val="black"/>
              </a:solidFill>
            </a:endParaRPr>
          </a:p>
        </p:txBody>
      </p:sp>
      <p:grpSp>
        <p:nvGrpSpPr>
          <p:cNvPr id="4" name="Group 22"/>
          <p:cNvGrpSpPr>
            <a:grpSpLocks/>
          </p:cNvGrpSpPr>
          <p:nvPr userDrawn="1"/>
        </p:nvGrpSpPr>
        <p:grpSpPr bwMode="auto">
          <a:xfrm>
            <a:off x="-264086" y="6596401"/>
            <a:ext cx="2147228" cy="184155"/>
            <a:chOff x="9374212" y="6574531"/>
            <a:chExt cx="2147228" cy="182885"/>
          </a:xfrm>
        </p:grpSpPr>
        <p:grpSp>
          <p:nvGrpSpPr>
            <p:cNvPr id="5" name="Group 8"/>
            <p:cNvGrpSpPr>
              <a:grpSpLocks/>
            </p:cNvGrpSpPr>
            <p:nvPr/>
          </p:nvGrpSpPr>
          <p:grpSpPr bwMode="auto">
            <a:xfrm>
              <a:off x="9374212" y="6574531"/>
              <a:ext cx="2147228" cy="182883"/>
              <a:chOff x="9378677" y="6574531"/>
              <a:chExt cx="2147228" cy="182883"/>
            </a:xfrm>
          </p:grpSpPr>
          <p:sp>
            <p:nvSpPr>
              <p:cNvPr id="7" name="Footer Placeholder 3"/>
              <p:cNvSpPr txBox="1">
                <a:spLocks/>
              </p:cNvSpPr>
              <p:nvPr/>
            </p:nvSpPr>
            <p:spPr bwMode="auto">
              <a:xfrm>
                <a:off x="10461203" y="6574537"/>
                <a:ext cx="1064702" cy="18287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All Rights Reserved.</a:t>
                </a:r>
              </a:p>
            </p:txBody>
          </p:sp>
          <p:sp>
            <p:nvSpPr>
              <p:cNvPr id="8"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algn="r" eaLnBrk="1" fontAlgn="base" hangingPunct="1">
                  <a:spcBef>
                    <a:spcPct val="0"/>
                  </a:spcBef>
                  <a:spcAft>
                    <a:spcPct val="0"/>
                  </a:spcAft>
                  <a:defRPr/>
                </a:pPr>
                <a:fld id="{75980DF0-75D0-FD4C-983E-614B6986212F}" type="datetime3">
                  <a:rPr lang="en-US" sz="800" kern="0" smtClean="0">
                    <a:solidFill>
                      <a:prstClr val="black"/>
                    </a:solidFill>
                    <a:latin typeface="3M Circular TT Book" panose="020B0604020101020102" pitchFamily="34" charset="0"/>
                    <a:cs typeface="3M Circular TT Book" panose="020B0604020101020102" pitchFamily="34" charset="0"/>
                  </a:rPr>
                  <a:pPr algn="r" eaLnBrk="1" fontAlgn="base" hangingPunct="1">
                    <a:spcBef>
                      <a:spcPct val="0"/>
                    </a:spcBef>
                    <a:spcAft>
                      <a:spcPct val="0"/>
                    </a:spcAft>
                    <a:defRPr/>
                  </a:pPr>
                  <a:t>31 October 2018</a:t>
                </a:fld>
                <a:endParaRPr lang="en-US" sz="800" kern="0" dirty="0">
                  <a:solidFill>
                    <a:prstClr val="black"/>
                  </a:solidFill>
                  <a:latin typeface="3M Circular TT Book" panose="020B0604020101020102" pitchFamily="34" charset="0"/>
                  <a:cs typeface="3M Circular TT Book" panose="020B0604020101020102" pitchFamily="34" charset="0"/>
                </a:endParaRPr>
              </a:p>
            </p:txBody>
          </p:sp>
          <p:sp>
            <p:nvSpPr>
              <p:cNvPr id="9"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12813" fontAlgn="base">
                  <a:spcBef>
                    <a:spcPct val="0"/>
                  </a:spcBef>
                  <a:spcAft>
                    <a:spcPct val="0"/>
                  </a:spcAft>
                  <a:defRPr/>
                </a:pPr>
                <a:endParaRPr lang="en-US" sz="800" kern="0">
                  <a:solidFill>
                    <a:prstClr val="black"/>
                  </a:solidFill>
                  <a:ea typeface="ＭＳ Ｐゴシック" charset="0"/>
                  <a:cs typeface="3M Circular TT Book" panose="020B0604020101020102" pitchFamily="34" charset="0"/>
                </a:endParaRPr>
              </a:p>
            </p:txBody>
          </p:sp>
        </p:grpSp>
        <p:sp>
          <p:nvSpPr>
            <p:cNvPr id="6"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a:t>
              </a:r>
            </a:p>
          </p:txBody>
        </p:sp>
      </p:grpSp>
      <p:sp>
        <p:nvSpPr>
          <p:cNvPr id="10"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26793577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Header Option 1">
    <p:spTree>
      <p:nvGrpSpPr>
        <p:cNvPr id="1" name=""/>
        <p:cNvGrpSpPr/>
        <p:nvPr/>
      </p:nvGrpSpPr>
      <p:grpSpPr>
        <a:xfrm>
          <a:off x="0" y="0"/>
          <a:ext cx="0" cy="0"/>
          <a:chOff x="0" y="0"/>
          <a:chExt cx="0" cy="0"/>
        </a:xfrm>
      </p:grpSpPr>
      <p:sp>
        <p:nvSpPr>
          <p:cNvPr id="39" name="Rectangle 38"/>
          <p:cNvSpPr/>
          <p:nvPr userDrawn="1"/>
        </p:nvSpPr>
        <p:spPr>
          <a:xfrm>
            <a:off x="3532" y="33077"/>
            <a:ext cx="12185420" cy="68295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6" name="Freeform 5"/>
          <p:cNvSpPr/>
          <p:nvPr/>
        </p:nvSpPr>
        <p:spPr>
          <a:xfrm>
            <a:off x="0" y="3602940"/>
            <a:ext cx="3586808" cy="3259673"/>
          </a:xfrm>
          <a:custGeom>
            <a:avLst/>
            <a:gdLst>
              <a:gd name="connsiteX0" fmla="*/ 1392248 w 3580909"/>
              <a:gd name="connsiteY0" fmla="*/ 0 h 3209249"/>
              <a:gd name="connsiteX1" fmla="*/ 0 w 3580909"/>
              <a:gd name="connsiteY1" fmla="*/ 3209249 h 3209249"/>
              <a:gd name="connsiteX2" fmla="*/ 3580909 w 3580909"/>
              <a:gd name="connsiteY2" fmla="*/ 1215267 h 3209249"/>
              <a:gd name="connsiteX3" fmla="*/ 1392248 w 3580909"/>
              <a:gd name="connsiteY3" fmla="*/ 0 h 3209249"/>
              <a:gd name="connsiteX0" fmla="*/ 1406371 w 3595032"/>
              <a:gd name="connsiteY0" fmla="*/ 0 h 3209249"/>
              <a:gd name="connsiteX1" fmla="*/ 0 w 3595032"/>
              <a:gd name="connsiteY1" fmla="*/ 3209249 h 3209249"/>
              <a:gd name="connsiteX2" fmla="*/ 3595032 w 3595032"/>
              <a:gd name="connsiteY2" fmla="*/ 1215267 h 3209249"/>
              <a:gd name="connsiteX3" fmla="*/ 1406371 w 3595032"/>
              <a:gd name="connsiteY3" fmla="*/ 0 h 3209249"/>
              <a:gd name="connsiteX0" fmla="*/ 1399310 w 3587971"/>
              <a:gd name="connsiteY0" fmla="*/ 0 h 3209249"/>
              <a:gd name="connsiteX1" fmla="*/ 0 w 3587971"/>
              <a:gd name="connsiteY1" fmla="*/ 3209249 h 3209249"/>
              <a:gd name="connsiteX2" fmla="*/ 3587971 w 3587971"/>
              <a:gd name="connsiteY2" fmla="*/ 1215267 h 3209249"/>
              <a:gd name="connsiteX3" fmla="*/ 1399310 w 3587971"/>
              <a:gd name="connsiteY3" fmla="*/ 0 h 3209249"/>
              <a:gd name="connsiteX0" fmla="*/ 1399310 w 3587971"/>
              <a:gd name="connsiteY0" fmla="*/ 0 h 3252111"/>
              <a:gd name="connsiteX1" fmla="*/ 0 w 3587971"/>
              <a:gd name="connsiteY1" fmla="*/ 3252111 h 3252111"/>
              <a:gd name="connsiteX2" fmla="*/ 3587971 w 3587971"/>
              <a:gd name="connsiteY2" fmla="*/ 1258129 h 3252111"/>
              <a:gd name="connsiteX3" fmla="*/ 1399310 w 3587971"/>
              <a:gd name="connsiteY3" fmla="*/ 0 h 3252111"/>
              <a:gd name="connsiteX0" fmla="*/ 1396734 w 3585395"/>
              <a:gd name="connsiteY0" fmla="*/ 0 h 3264990"/>
              <a:gd name="connsiteX1" fmla="*/ 0 w 3585395"/>
              <a:gd name="connsiteY1" fmla="*/ 3264990 h 3264990"/>
              <a:gd name="connsiteX2" fmla="*/ 3585395 w 3585395"/>
              <a:gd name="connsiteY2" fmla="*/ 1258129 h 3264990"/>
              <a:gd name="connsiteX3" fmla="*/ 1396734 w 3585395"/>
              <a:gd name="connsiteY3" fmla="*/ 0 h 3264990"/>
              <a:gd name="connsiteX0" fmla="*/ 1404461 w 3593122"/>
              <a:gd name="connsiteY0" fmla="*/ 0 h 3267566"/>
              <a:gd name="connsiteX1" fmla="*/ 0 w 3593122"/>
              <a:gd name="connsiteY1" fmla="*/ 3267566 h 3267566"/>
              <a:gd name="connsiteX2" fmla="*/ 3593122 w 3593122"/>
              <a:gd name="connsiteY2" fmla="*/ 1258129 h 3267566"/>
              <a:gd name="connsiteX3" fmla="*/ 1404461 w 3593122"/>
              <a:gd name="connsiteY3" fmla="*/ 0 h 3267566"/>
            </a:gdLst>
            <a:ahLst/>
            <a:cxnLst>
              <a:cxn ang="0">
                <a:pos x="connsiteX0" y="connsiteY0"/>
              </a:cxn>
              <a:cxn ang="0">
                <a:pos x="connsiteX1" y="connsiteY1"/>
              </a:cxn>
              <a:cxn ang="0">
                <a:pos x="connsiteX2" y="connsiteY2"/>
              </a:cxn>
              <a:cxn ang="0">
                <a:pos x="connsiteX3" y="connsiteY3"/>
              </a:cxn>
            </a:cxnLst>
            <a:rect l="l" t="t" r="r" b="b"/>
            <a:pathLst>
              <a:path w="3593122" h="3267566">
                <a:moveTo>
                  <a:pt x="1404461" y="0"/>
                </a:moveTo>
                <a:lnTo>
                  <a:pt x="0" y="3267566"/>
                </a:lnTo>
                <a:lnTo>
                  <a:pt x="3593122" y="1258129"/>
                </a:lnTo>
                <a:lnTo>
                  <a:pt x="1404461" y="0"/>
                </a:lnTo>
                <a:close/>
              </a:path>
            </a:pathLst>
          </a:custGeom>
          <a:gradFill>
            <a:gsLst>
              <a:gs pos="15000">
                <a:schemeClr val="accent2"/>
              </a:gs>
              <a:gs pos="100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7" name="Freeform 6"/>
          <p:cNvSpPr/>
          <p:nvPr/>
        </p:nvSpPr>
        <p:spPr>
          <a:xfrm>
            <a:off x="1390330" y="1741468"/>
            <a:ext cx="2199979" cy="3164694"/>
          </a:xfrm>
          <a:custGeom>
            <a:avLst/>
            <a:gdLst>
              <a:gd name="connsiteX0" fmla="*/ 1739462 w 2186152"/>
              <a:gd name="connsiteY0" fmla="*/ 0 h 3095296"/>
              <a:gd name="connsiteX1" fmla="*/ 0 w 2186152"/>
              <a:gd name="connsiteY1" fmla="*/ 1891862 h 3095296"/>
              <a:gd name="connsiteX2" fmla="*/ 2186152 w 2186152"/>
              <a:gd name="connsiteY2" fmla="*/ 3095296 h 3095296"/>
              <a:gd name="connsiteX3" fmla="*/ 1739462 w 2186152"/>
              <a:gd name="connsiteY3" fmla="*/ 0 h 3095296"/>
              <a:gd name="connsiteX0" fmla="*/ 1733563 w 2186152"/>
              <a:gd name="connsiteY0" fmla="*/ 0 h 3112994"/>
              <a:gd name="connsiteX1" fmla="*/ 0 w 2186152"/>
              <a:gd name="connsiteY1" fmla="*/ 1909560 h 3112994"/>
              <a:gd name="connsiteX2" fmla="*/ 2186152 w 2186152"/>
              <a:gd name="connsiteY2" fmla="*/ 3112994 h 3112994"/>
              <a:gd name="connsiteX3" fmla="*/ 1733563 w 2186152"/>
              <a:gd name="connsiteY3" fmla="*/ 0 h 3112994"/>
              <a:gd name="connsiteX0" fmla="*/ 1752613 w 2186152"/>
              <a:gd name="connsiteY0" fmla="*/ 0 h 3108232"/>
              <a:gd name="connsiteX1" fmla="*/ 0 w 2186152"/>
              <a:gd name="connsiteY1" fmla="*/ 1904798 h 3108232"/>
              <a:gd name="connsiteX2" fmla="*/ 2186152 w 2186152"/>
              <a:gd name="connsiteY2" fmla="*/ 3108232 h 3108232"/>
              <a:gd name="connsiteX3" fmla="*/ 1752613 w 2186152"/>
              <a:gd name="connsiteY3" fmla="*/ 0 h 3108232"/>
              <a:gd name="connsiteX0" fmla="*/ 1738326 w 2186152"/>
              <a:gd name="connsiteY0" fmla="*/ 0 h 3108232"/>
              <a:gd name="connsiteX1" fmla="*/ 0 w 2186152"/>
              <a:gd name="connsiteY1" fmla="*/ 1904798 h 3108232"/>
              <a:gd name="connsiteX2" fmla="*/ 2186152 w 2186152"/>
              <a:gd name="connsiteY2" fmla="*/ 3108232 h 3108232"/>
              <a:gd name="connsiteX3" fmla="*/ 1738326 w 2186152"/>
              <a:gd name="connsiteY3" fmla="*/ 0 h 3108232"/>
              <a:gd name="connsiteX0" fmla="*/ 1724039 w 2186152"/>
              <a:gd name="connsiteY0" fmla="*/ 0 h 3089182"/>
              <a:gd name="connsiteX1" fmla="*/ 0 w 2186152"/>
              <a:gd name="connsiteY1" fmla="*/ 1885748 h 3089182"/>
              <a:gd name="connsiteX2" fmla="*/ 2186152 w 2186152"/>
              <a:gd name="connsiteY2" fmla="*/ 3089182 h 3089182"/>
              <a:gd name="connsiteX3" fmla="*/ 1724039 w 2186152"/>
              <a:gd name="connsiteY3" fmla="*/ 0 h 3089182"/>
              <a:gd name="connsiteX0" fmla="*/ 1743089 w 2205202"/>
              <a:gd name="connsiteY0" fmla="*/ 0 h 3089182"/>
              <a:gd name="connsiteX1" fmla="*/ 0 w 2205202"/>
              <a:gd name="connsiteY1" fmla="*/ 1861935 h 3089182"/>
              <a:gd name="connsiteX2" fmla="*/ 2205202 w 2205202"/>
              <a:gd name="connsiteY2" fmla="*/ 3089182 h 3089182"/>
              <a:gd name="connsiteX3" fmla="*/ 1743089 w 2205202"/>
              <a:gd name="connsiteY3" fmla="*/ 0 h 3089182"/>
              <a:gd name="connsiteX0" fmla="*/ 1733564 w 2205202"/>
              <a:gd name="connsiteY0" fmla="*/ 0 h 3079657"/>
              <a:gd name="connsiteX1" fmla="*/ 0 w 2205202"/>
              <a:gd name="connsiteY1" fmla="*/ 1852410 h 3079657"/>
              <a:gd name="connsiteX2" fmla="*/ 2205202 w 2205202"/>
              <a:gd name="connsiteY2" fmla="*/ 3079657 h 3079657"/>
              <a:gd name="connsiteX3" fmla="*/ 1733564 w 2205202"/>
              <a:gd name="connsiteY3" fmla="*/ 0 h 3079657"/>
              <a:gd name="connsiteX0" fmla="*/ 1695464 w 2167102"/>
              <a:gd name="connsiteY0" fmla="*/ 0 h 3079657"/>
              <a:gd name="connsiteX1" fmla="*/ 0 w 2167102"/>
              <a:gd name="connsiteY1" fmla="*/ 1871460 h 3079657"/>
              <a:gd name="connsiteX2" fmla="*/ 2167102 w 2167102"/>
              <a:gd name="connsiteY2" fmla="*/ 3079657 h 3079657"/>
              <a:gd name="connsiteX3" fmla="*/ 1695464 w 2167102"/>
              <a:gd name="connsiteY3" fmla="*/ 0 h 3079657"/>
              <a:gd name="connsiteX0" fmla="*/ 1724039 w 2195677"/>
              <a:gd name="connsiteY0" fmla="*/ 0 h 3079657"/>
              <a:gd name="connsiteX1" fmla="*/ 0 w 2195677"/>
              <a:gd name="connsiteY1" fmla="*/ 1866698 h 3079657"/>
              <a:gd name="connsiteX2" fmla="*/ 2195677 w 2195677"/>
              <a:gd name="connsiteY2" fmla="*/ 3079657 h 3079657"/>
              <a:gd name="connsiteX3" fmla="*/ 1724039 w 2195677"/>
              <a:gd name="connsiteY3" fmla="*/ 0 h 3079657"/>
              <a:gd name="connsiteX0" fmla="*/ 1746073 w 2195677"/>
              <a:gd name="connsiteY0" fmla="*/ 0 h 3079657"/>
              <a:gd name="connsiteX1" fmla="*/ 0 w 2195677"/>
              <a:gd name="connsiteY1" fmla="*/ 1866698 h 3079657"/>
              <a:gd name="connsiteX2" fmla="*/ 2195677 w 2195677"/>
              <a:gd name="connsiteY2" fmla="*/ 3079657 h 3079657"/>
              <a:gd name="connsiteX3" fmla="*/ 1746073 w 2195677"/>
              <a:gd name="connsiteY3" fmla="*/ 0 h 3079657"/>
              <a:gd name="connsiteX0" fmla="*/ 1714323 w 2195677"/>
              <a:gd name="connsiteY0" fmla="*/ 0 h 3098707"/>
              <a:gd name="connsiteX1" fmla="*/ 0 w 2195677"/>
              <a:gd name="connsiteY1" fmla="*/ 1885748 h 3098707"/>
              <a:gd name="connsiteX2" fmla="*/ 2195677 w 2195677"/>
              <a:gd name="connsiteY2" fmla="*/ 3098707 h 3098707"/>
              <a:gd name="connsiteX3" fmla="*/ 1714323 w 2195677"/>
              <a:gd name="connsiteY3" fmla="*/ 0 h 3098707"/>
              <a:gd name="connsiteX0" fmla="*/ 1720673 w 2195677"/>
              <a:gd name="connsiteY0" fmla="*/ 0 h 3092357"/>
              <a:gd name="connsiteX1" fmla="*/ 0 w 2195677"/>
              <a:gd name="connsiteY1" fmla="*/ 1879398 h 3092357"/>
              <a:gd name="connsiteX2" fmla="*/ 2195677 w 2195677"/>
              <a:gd name="connsiteY2" fmla="*/ 3092357 h 3092357"/>
              <a:gd name="connsiteX3" fmla="*/ 1720673 w 2195677"/>
              <a:gd name="connsiteY3" fmla="*/ 0 h 3092357"/>
              <a:gd name="connsiteX0" fmla="*/ 1739723 w 2195677"/>
              <a:gd name="connsiteY0" fmla="*/ 0 h 3086007"/>
              <a:gd name="connsiteX1" fmla="*/ 0 w 2195677"/>
              <a:gd name="connsiteY1" fmla="*/ 1873048 h 3086007"/>
              <a:gd name="connsiteX2" fmla="*/ 2195677 w 2195677"/>
              <a:gd name="connsiteY2" fmla="*/ 3086007 h 3086007"/>
              <a:gd name="connsiteX3" fmla="*/ 1739723 w 2195677"/>
              <a:gd name="connsiteY3" fmla="*/ 0 h 3086007"/>
              <a:gd name="connsiteX0" fmla="*/ 1720673 w 2195677"/>
              <a:gd name="connsiteY0" fmla="*/ 0 h 3155857"/>
              <a:gd name="connsiteX1" fmla="*/ 0 w 2195677"/>
              <a:gd name="connsiteY1" fmla="*/ 1942898 h 3155857"/>
              <a:gd name="connsiteX2" fmla="*/ 2195677 w 2195677"/>
              <a:gd name="connsiteY2" fmla="*/ 3155857 h 3155857"/>
              <a:gd name="connsiteX3" fmla="*/ 1720673 w 2195677"/>
              <a:gd name="connsiteY3" fmla="*/ 0 h 3155857"/>
              <a:gd name="connsiteX0" fmla="*/ 1720673 w 2195677"/>
              <a:gd name="connsiteY0" fmla="*/ 0 h 3079657"/>
              <a:gd name="connsiteX1" fmla="*/ 0 w 2195677"/>
              <a:gd name="connsiteY1" fmla="*/ 1866698 h 3079657"/>
              <a:gd name="connsiteX2" fmla="*/ 2195677 w 2195677"/>
              <a:gd name="connsiteY2" fmla="*/ 3079657 h 3079657"/>
              <a:gd name="connsiteX3" fmla="*/ 1720673 w 2195677"/>
              <a:gd name="connsiteY3" fmla="*/ 0 h 3079657"/>
              <a:gd name="connsiteX0" fmla="*/ 1720673 w 2195677"/>
              <a:gd name="connsiteY0" fmla="*/ 0 h 3149507"/>
              <a:gd name="connsiteX1" fmla="*/ 0 w 2195677"/>
              <a:gd name="connsiteY1" fmla="*/ 1936548 h 3149507"/>
              <a:gd name="connsiteX2" fmla="*/ 2195677 w 2195677"/>
              <a:gd name="connsiteY2" fmla="*/ 3149507 h 3149507"/>
              <a:gd name="connsiteX3" fmla="*/ 1720673 w 219567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24975 w 2199979"/>
              <a:gd name="connsiteY0" fmla="*/ 0 h 3149507"/>
              <a:gd name="connsiteX1" fmla="*/ 0 w 2199979"/>
              <a:gd name="connsiteY1" fmla="*/ 1921800 h 3149507"/>
              <a:gd name="connsiteX2" fmla="*/ 2199979 w 2199979"/>
              <a:gd name="connsiteY2" fmla="*/ 3149507 h 3149507"/>
              <a:gd name="connsiteX3" fmla="*/ 1724975 w 2199979"/>
              <a:gd name="connsiteY3" fmla="*/ 0 h 3149507"/>
              <a:gd name="connsiteX0" fmla="*/ 1722399 w 2199979"/>
              <a:gd name="connsiteY0" fmla="*/ 0 h 3072234"/>
              <a:gd name="connsiteX1" fmla="*/ 0 w 2199979"/>
              <a:gd name="connsiteY1" fmla="*/ 1844527 h 3072234"/>
              <a:gd name="connsiteX2" fmla="*/ 2199979 w 2199979"/>
              <a:gd name="connsiteY2" fmla="*/ 3072234 h 3072234"/>
              <a:gd name="connsiteX3" fmla="*/ 1722399 w 2199979"/>
              <a:gd name="connsiteY3" fmla="*/ 0 h 3072234"/>
              <a:gd name="connsiteX0" fmla="*/ 1722399 w 2199979"/>
              <a:gd name="connsiteY0" fmla="*/ 0 h 3123750"/>
              <a:gd name="connsiteX1" fmla="*/ 0 w 2199979"/>
              <a:gd name="connsiteY1" fmla="*/ 1896043 h 3123750"/>
              <a:gd name="connsiteX2" fmla="*/ 2199979 w 2199979"/>
              <a:gd name="connsiteY2" fmla="*/ 3123750 h 3123750"/>
              <a:gd name="connsiteX3" fmla="*/ 1722399 w 2199979"/>
              <a:gd name="connsiteY3" fmla="*/ 0 h 3123750"/>
              <a:gd name="connsiteX0" fmla="*/ 1736047 w 2199979"/>
              <a:gd name="connsiteY0" fmla="*/ 0 h 3164694"/>
              <a:gd name="connsiteX1" fmla="*/ 0 w 2199979"/>
              <a:gd name="connsiteY1" fmla="*/ 1936987 h 3164694"/>
              <a:gd name="connsiteX2" fmla="*/ 2199979 w 2199979"/>
              <a:gd name="connsiteY2" fmla="*/ 3164694 h 3164694"/>
              <a:gd name="connsiteX3" fmla="*/ 1736047 w 2199979"/>
              <a:gd name="connsiteY3" fmla="*/ 0 h 3164694"/>
            </a:gdLst>
            <a:ahLst/>
            <a:cxnLst>
              <a:cxn ang="0">
                <a:pos x="connsiteX0" y="connsiteY0"/>
              </a:cxn>
              <a:cxn ang="0">
                <a:pos x="connsiteX1" y="connsiteY1"/>
              </a:cxn>
              <a:cxn ang="0">
                <a:pos x="connsiteX2" y="connsiteY2"/>
              </a:cxn>
              <a:cxn ang="0">
                <a:pos x="connsiteX3" y="connsiteY3"/>
              </a:cxn>
            </a:cxnLst>
            <a:rect l="l" t="t" r="r" b="b"/>
            <a:pathLst>
              <a:path w="2199979" h="3164694">
                <a:moveTo>
                  <a:pt x="1736047" y="0"/>
                </a:moveTo>
                <a:lnTo>
                  <a:pt x="0" y="1936987"/>
                </a:lnTo>
                <a:lnTo>
                  <a:pt x="2199979" y="3164694"/>
                </a:lnTo>
                <a:lnTo>
                  <a:pt x="1736047" y="0"/>
                </a:lnTo>
                <a:close/>
              </a:path>
            </a:pathLst>
          </a:custGeom>
          <a:gradFill>
            <a:gsLst>
              <a:gs pos="15000">
                <a:schemeClr val="accent2"/>
              </a:gs>
              <a:gs pos="100000">
                <a:schemeClr val="accent1"/>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8" name="Freeform 7"/>
          <p:cNvSpPr/>
          <p:nvPr/>
        </p:nvSpPr>
        <p:spPr>
          <a:xfrm>
            <a:off x="6375805" y="1"/>
            <a:ext cx="4644129" cy="1222744"/>
          </a:xfrm>
          <a:custGeom>
            <a:avLst/>
            <a:gdLst>
              <a:gd name="connsiteX0" fmla="*/ 0 w 4550735"/>
              <a:gd name="connsiteY0" fmla="*/ 0 h 1222745"/>
              <a:gd name="connsiteX1" fmla="*/ 1222744 w 4550735"/>
              <a:gd name="connsiteY1" fmla="*/ 1222745 h 1222745"/>
              <a:gd name="connsiteX2" fmla="*/ 4550735 w 4550735"/>
              <a:gd name="connsiteY2" fmla="*/ 10633 h 1222745"/>
              <a:gd name="connsiteX3" fmla="*/ 0 w 4550735"/>
              <a:gd name="connsiteY3" fmla="*/ 0 h 1222745"/>
              <a:gd name="connsiteX0" fmla="*/ 0 w 4582633"/>
              <a:gd name="connsiteY0" fmla="*/ 10633 h 1212112"/>
              <a:gd name="connsiteX1" fmla="*/ 1254642 w 4582633"/>
              <a:gd name="connsiteY1" fmla="*/ 1212112 h 1212112"/>
              <a:gd name="connsiteX2" fmla="*/ 4582633 w 4582633"/>
              <a:gd name="connsiteY2" fmla="*/ 0 h 1212112"/>
              <a:gd name="connsiteX3" fmla="*/ 0 w 4582633"/>
              <a:gd name="connsiteY3" fmla="*/ 10633 h 1212112"/>
              <a:gd name="connsiteX0" fmla="*/ 0 w 4566685"/>
              <a:gd name="connsiteY0" fmla="*/ 0 h 1228061"/>
              <a:gd name="connsiteX1" fmla="*/ 1238694 w 4566685"/>
              <a:gd name="connsiteY1" fmla="*/ 1228061 h 1228061"/>
              <a:gd name="connsiteX2" fmla="*/ 4566685 w 4566685"/>
              <a:gd name="connsiteY2" fmla="*/ 15949 h 1228061"/>
              <a:gd name="connsiteX3" fmla="*/ 0 w 4566685"/>
              <a:gd name="connsiteY3" fmla="*/ 0 h 1228061"/>
              <a:gd name="connsiteX0" fmla="*/ 0 w 4566685"/>
              <a:gd name="connsiteY0" fmla="*/ 0 h 1217428"/>
              <a:gd name="connsiteX1" fmla="*/ 1238694 w 4566685"/>
              <a:gd name="connsiteY1" fmla="*/ 1217428 h 1217428"/>
              <a:gd name="connsiteX2" fmla="*/ 4566685 w 4566685"/>
              <a:gd name="connsiteY2" fmla="*/ 5316 h 1217428"/>
              <a:gd name="connsiteX3" fmla="*/ 0 w 4566685"/>
              <a:gd name="connsiteY3" fmla="*/ 0 h 1217428"/>
              <a:gd name="connsiteX0" fmla="*/ 0 w 4614532"/>
              <a:gd name="connsiteY0" fmla="*/ 0 h 1217428"/>
              <a:gd name="connsiteX1" fmla="*/ 1238694 w 4614532"/>
              <a:gd name="connsiteY1" fmla="*/ 1217428 h 1217428"/>
              <a:gd name="connsiteX2" fmla="*/ 4614532 w 4614532"/>
              <a:gd name="connsiteY2" fmla="*/ 5316 h 1217428"/>
              <a:gd name="connsiteX3" fmla="*/ 0 w 4614532"/>
              <a:gd name="connsiteY3" fmla="*/ 0 h 1217428"/>
              <a:gd name="connsiteX0" fmla="*/ 0 w 4614532"/>
              <a:gd name="connsiteY0" fmla="*/ 0 h 1228060"/>
              <a:gd name="connsiteX1" fmla="*/ 1286541 w 4614532"/>
              <a:gd name="connsiteY1" fmla="*/ 1228060 h 1228060"/>
              <a:gd name="connsiteX2" fmla="*/ 4614532 w 4614532"/>
              <a:gd name="connsiteY2" fmla="*/ 5316 h 1228060"/>
              <a:gd name="connsiteX3" fmla="*/ 0 w 4614532"/>
              <a:gd name="connsiteY3" fmla="*/ 0 h 1228060"/>
              <a:gd name="connsiteX0" fmla="*/ 0 w 4614532"/>
              <a:gd name="connsiteY0" fmla="*/ 10633 h 1222744"/>
              <a:gd name="connsiteX1" fmla="*/ 1286541 w 4614532"/>
              <a:gd name="connsiteY1" fmla="*/ 1222744 h 1222744"/>
              <a:gd name="connsiteX2" fmla="*/ 4614532 w 4614532"/>
              <a:gd name="connsiteY2" fmla="*/ 0 h 1222744"/>
              <a:gd name="connsiteX3" fmla="*/ 0 w 4614532"/>
              <a:gd name="connsiteY3" fmla="*/ 10633 h 1222744"/>
              <a:gd name="connsiteX0" fmla="*/ 0 w 4614532"/>
              <a:gd name="connsiteY0" fmla="*/ 10633 h 1201479"/>
              <a:gd name="connsiteX1" fmla="*/ 1238695 w 4614532"/>
              <a:gd name="connsiteY1" fmla="*/ 1201479 h 1201479"/>
              <a:gd name="connsiteX2" fmla="*/ 4614532 w 4614532"/>
              <a:gd name="connsiteY2" fmla="*/ 0 h 1201479"/>
              <a:gd name="connsiteX3" fmla="*/ 0 w 4614532"/>
              <a:gd name="connsiteY3" fmla="*/ 10633 h 1201479"/>
              <a:gd name="connsiteX0" fmla="*/ 0 w 4614532"/>
              <a:gd name="connsiteY0" fmla="*/ 10633 h 1222744"/>
              <a:gd name="connsiteX1" fmla="*/ 1249328 w 4614532"/>
              <a:gd name="connsiteY1" fmla="*/ 1222744 h 1222744"/>
              <a:gd name="connsiteX2" fmla="*/ 4614532 w 4614532"/>
              <a:gd name="connsiteY2" fmla="*/ 0 h 1222744"/>
              <a:gd name="connsiteX3" fmla="*/ 0 w 4614532"/>
              <a:gd name="connsiteY3" fmla="*/ 10633 h 1222744"/>
              <a:gd name="connsiteX0" fmla="*/ 0 w 4614532"/>
              <a:gd name="connsiteY0" fmla="*/ 0 h 1222744"/>
              <a:gd name="connsiteX1" fmla="*/ 1249328 w 4614532"/>
              <a:gd name="connsiteY1" fmla="*/ 1222744 h 1222744"/>
              <a:gd name="connsiteX2" fmla="*/ 4614532 w 4614532"/>
              <a:gd name="connsiteY2" fmla="*/ 0 h 1222744"/>
              <a:gd name="connsiteX3" fmla="*/ 0 w 4614532"/>
              <a:gd name="connsiteY3" fmla="*/ 0 h 1222744"/>
              <a:gd name="connsiteX0" fmla="*/ 0 w 4630481"/>
              <a:gd name="connsiteY0" fmla="*/ 0 h 1222744"/>
              <a:gd name="connsiteX1" fmla="*/ 1249328 w 4630481"/>
              <a:gd name="connsiteY1" fmla="*/ 1222744 h 1222744"/>
              <a:gd name="connsiteX2" fmla="*/ 4630481 w 4630481"/>
              <a:gd name="connsiteY2" fmla="*/ 0 h 1222744"/>
              <a:gd name="connsiteX3" fmla="*/ 0 w 4630481"/>
              <a:gd name="connsiteY3" fmla="*/ 0 h 1222744"/>
              <a:gd name="connsiteX0" fmla="*/ 0 w 4671425"/>
              <a:gd name="connsiteY0" fmla="*/ 0 h 1222744"/>
              <a:gd name="connsiteX1" fmla="*/ 1290272 w 4671425"/>
              <a:gd name="connsiteY1" fmla="*/ 1222744 h 1222744"/>
              <a:gd name="connsiteX2" fmla="*/ 4671425 w 4671425"/>
              <a:gd name="connsiteY2" fmla="*/ 0 h 1222744"/>
              <a:gd name="connsiteX3" fmla="*/ 0 w 4671425"/>
              <a:gd name="connsiteY3" fmla="*/ 0 h 1222744"/>
              <a:gd name="connsiteX0" fmla="*/ 0 w 4671425"/>
              <a:gd name="connsiteY0" fmla="*/ 0 h 1222744"/>
              <a:gd name="connsiteX1" fmla="*/ 1290272 w 4671425"/>
              <a:gd name="connsiteY1" fmla="*/ 1222744 h 1222744"/>
              <a:gd name="connsiteX2" fmla="*/ 4671425 w 4671425"/>
              <a:gd name="connsiteY2" fmla="*/ 614149 h 1222744"/>
              <a:gd name="connsiteX3" fmla="*/ 0 w 4671425"/>
              <a:gd name="connsiteY3" fmla="*/ 0 h 1222744"/>
              <a:gd name="connsiteX0" fmla="*/ 0 w 4657777"/>
              <a:gd name="connsiteY0" fmla="*/ 13648 h 1236392"/>
              <a:gd name="connsiteX1" fmla="*/ 1290272 w 4657777"/>
              <a:gd name="connsiteY1" fmla="*/ 1236392 h 1236392"/>
              <a:gd name="connsiteX2" fmla="*/ 4657777 w 4657777"/>
              <a:gd name="connsiteY2" fmla="*/ 0 h 1236392"/>
              <a:gd name="connsiteX3" fmla="*/ 0 w 4657777"/>
              <a:gd name="connsiteY3" fmla="*/ 13648 h 1236392"/>
              <a:gd name="connsiteX0" fmla="*/ 0 w 4644129"/>
              <a:gd name="connsiteY0" fmla="*/ 0 h 1222744"/>
              <a:gd name="connsiteX1" fmla="*/ 1290272 w 4644129"/>
              <a:gd name="connsiteY1" fmla="*/ 1222744 h 1222744"/>
              <a:gd name="connsiteX2" fmla="*/ 4644129 w 4644129"/>
              <a:gd name="connsiteY2" fmla="*/ 0 h 1222744"/>
              <a:gd name="connsiteX3" fmla="*/ 0 w 4644129"/>
              <a:gd name="connsiteY3" fmla="*/ 0 h 1222744"/>
            </a:gdLst>
            <a:ahLst/>
            <a:cxnLst>
              <a:cxn ang="0">
                <a:pos x="connsiteX0" y="connsiteY0"/>
              </a:cxn>
              <a:cxn ang="0">
                <a:pos x="connsiteX1" y="connsiteY1"/>
              </a:cxn>
              <a:cxn ang="0">
                <a:pos x="connsiteX2" y="connsiteY2"/>
              </a:cxn>
              <a:cxn ang="0">
                <a:pos x="connsiteX3" y="connsiteY3"/>
              </a:cxn>
            </a:cxnLst>
            <a:rect l="l" t="t" r="r" b="b"/>
            <a:pathLst>
              <a:path w="4644129" h="1222744">
                <a:moveTo>
                  <a:pt x="0" y="0"/>
                </a:moveTo>
                <a:lnTo>
                  <a:pt x="1290272" y="1222744"/>
                </a:lnTo>
                <a:lnTo>
                  <a:pt x="4644129" y="0"/>
                </a:lnTo>
                <a:lnTo>
                  <a:pt x="0" y="0"/>
                </a:lnTo>
                <a:close/>
              </a:path>
            </a:pathLst>
          </a:custGeom>
          <a:gradFill>
            <a:gsLst>
              <a:gs pos="100000">
                <a:schemeClr val="accent2"/>
              </a:gs>
              <a:gs pos="44000">
                <a:schemeClr val="accent1"/>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 name="Freeform 8"/>
          <p:cNvSpPr/>
          <p:nvPr/>
        </p:nvSpPr>
        <p:spPr>
          <a:xfrm>
            <a:off x="4052439" y="2989173"/>
            <a:ext cx="3708351" cy="2971471"/>
          </a:xfrm>
          <a:custGeom>
            <a:avLst/>
            <a:gdLst>
              <a:gd name="connsiteX0" fmla="*/ 2291255 w 3641834"/>
              <a:gd name="connsiteY0" fmla="*/ 0 h 2958662"/>
              <a:gd name="connsiteX1" fmla="*/ 3641834 w 3641834"/>
              <a:gd name="connsiteY1" fmla="*/ 1692165 h 2958662"/>
              <a:gd name="connsiteX2" fmla="*/ 0 w 3641834"/>
              <a:gd name="connsiteY2" fmla="*/ 2958662 h 2958662"/>
              <a:gd name="connsiteX3" fmla="*/ 2291255 w 3641834"/>
              <a:gd name="connsiteY3" fmla="*/ 0 h 2958662"/>
              <a:gd name="connsiteX0" fmla="*/ 2291255 w 3641834"/>
              <a:gd name="connsiteY0" fmla="*/ 0 h 2963917"/>
              <a:gd name="connsiteX1" fmla="*/ 3641834 w 3641834"/>
              <a:gd name="connsiteY1" fmla="*/ 1697420 h 2963917"/>
              <a:gd name="connsiteX2" fmla="*/ 0 w 3641834"/>
              <a:gd name="connsiteY2" fmla="*/ 2963917 h 2963917"/>
              <a:gd name="connsiteX3" fmla="*/ 2291255 w 3641834"/>
              <a:gd name="connsiteY3" fmla="*/ 0 h 2963917"/>
              <a:gd name="connsiteX0" fmla="*/ 2301765 w 3641834"/>
              <a:gd name="connsiteY0" fmla="*/ 0 h 2948152"/>
              <a:gd name="connsiteX1" fmla="*/ 3641834 w 3641834"/>
              <a:gd name="connsiteY1" fmla="*/ 1681655 h 2948152"/>
              <a:gd name="connsiteX2" fmla="*/ 0 w 3641834"/>
              <a:gd name="connsiteY2" fmla="*/ 2948152 h 2948152"/>
              <a:gd name="connsiteX3" fmla="*/ 2301765 w 3641834"/>
              <a:gd name="connsiteY3" fmla="*/ 0 h 2948152"/>
              <a:gd name="connsiteX0" fmla="*/ 2293452 w 3641834"/>
              <a:gd name="connsiteY0" fmla="*/ 0 h 2948152"/>
              <a:gd name="connsiteX1" fmla="*/ 3641834 w 3641834"/>
              <a:gd name="connsiteY1" fmla="*/ 1681655 h 2948152"/>
              <a:gd name="connsiteX2" fmla="*/ 0 w 3641834"/>
              <a:gd name="connsiteY2" fmla="*/ 2948152 h 2948152"/>
              <a:gd name="connsiteX3" fmla="*/ 2293452 w 3641834"/>
              <a:gd name="connsiteY3" fmla="*/ 0 h 2948152"/>
              <a:gd name="connsiteX0" fmla="*/ 2305379 w 3653761"/>
              <a:gd name="connsiteY0" fmla="*/ 0 h 2944176"/>
              <a:gd name="connsiteX1" fmla="*/ 3653761 w 3653761"/>
              <a:gd name="connsiteY1" fmla="*/ 1681655 h 2944176"/>
              <a:gd name="connsiteX2" fmla="*/ 0 w 3653761"/>
              <a:gd name="connsiteY2" fmla="*/ 2944176 h 2944176"/>
              <a:gd name="connsiteX3" fmla="*/ 2305379 w 3653761"/>
              <a:gd name="connsiteY3" fmla="*/ 0 h 2944176"/>
              <a:gd name="connsiteX0" fmla="*/ 2291731 w 3653761"/>
              <a:gd name="connsiteY0" fmla="*/ 0 h 2944176"/>
              <a:gd name="connsiteX1" fmla="*/ 3653761 w 3653761"/>
              <a:gd name="connsiteY1" fmla="*/ 1681655 h 2944176"/>
              <a:gd name="connsiteX2" fmla="*/ 0 w 3653761"/>
              <a:gd name="connsiteY2" fmla="*/ 2944176 h 2944176"/>
              <a:gd name="connsiteX3" fmla="*/ 2291731 w 3653761"/>
              <a:gd name="connsiteY3" fmla="*/ 0 h 2944176"/>
              <a:gd name="connsiteX0" fmla="*/ 2305378 w 3653761"/>
              <a:gd name="connsiteY0" fmla="*/ 0 h 2971471"/>
              <a:gd name="connsiteX1" fmla="*/ 3653761 w 3653761"/>
              <a:gd name="connsiteY1" fmla="*/ 1708950 h 2971471"/>
              <a:gd name="connsiteX2" fmla="*/ 0 w 3653761"/>
              <a:gd name="connsiteY2" fmla="*/ 2971471 h 2971471"/>
              <a:gd name="connsiteX3" fmla="*/ 2305378 w 3653761"/>
              <a:gd name="connsiteY3" fmla="*/ 0 h 2971471"/>
              <a:gd name="connsiteX0" fmla="*/ 2305378 w 3694704"/>
              <a:gd name="connsiteY0" fmla="*/ 0 h 2971471"/>
              <a:gd name="connsiteX1" fmla="*/ 3694704 w 3694704"/>
              <a:gd name="connsiteY1" fmla="*/ 1722598 h 2971471"/>
              <a:gd name="connsiteX2" fmla="*/ 0 w 3694704"/>
              <a:gd name="connsiteY2" fmla="*/ 2971471 h 2971471"/>
              <a:gd name="connsiteX3" fmla="*/ 2305378 w 3694704"/>
              <a:gd name="connsiteY3" fmla="*/ 0 h 2971471"/>
              <a:gd name="connsiteX0" fmla="*/ 2319025 w 3708351"/>
              <a:gd name="connsiteY0" fmla="*/ 0 h 2971471"/>
              <a:gd name="connsiteX1" fmla="*/ 3708351 w 3708351"/>
              <a:gd name="connsiteY1" fmla="*/ 1722598 h 2971471"/>
              <a:gd name="connsiteX2" fmla="*/ 0 w 3708351"/>
              <a:gd name="connsiteY2" fmla="*/ 2971471 h 2971471"/>
              <a:gd name="connsiteX3" fmla="*/ 2319025 w 3708351"/>
              <a:gd name="connsiteY3" fmla="*/ 0 h 2971471"/>
            </a:gdLst>
            <a:ahLst/>
            <a:cxnLst>
              <a:cxn ang="0">
                <a:pos x="connsiteX0" y="connsiteY0"/>
              </a:cxn>
              <a:cxn ang="0">
                <a:pos x="connsiteX1" y="connsiteY1"/>
              </a:cxn>
              <a:cxn ang="0">
                <a:pos x="connsiteX2" y="connsiteY2"/>
              </a:cxn>
              <a:cxn ang="0">
                <a:pos x="connsiteX3" y="connsiteY3"/>
              </a:cxn>
            </a:cxnLst>
            <a:rect l="l" t="t" r="r" b="b"/>
            <a:pathLst>
              <a:path w="3708351" h="2971471">
                <a:moveTo>
                  <a:pt x="2319025" y="0"/>
                </a:moveTo>
                <a:lnTo>
                  <a:pt x="3708351" y="1722598"/>
                </a:lnTo>
                <a:lnTo>
                  <a:pt x="0" y="2971471"/>
                </a:lnTo>
                <a:lnTo>
                  <a:pt x="2319025" y="0"/>
                </a:lnTo>
                <a:close/>
              </a:path>
            </a:pathLst>
          </a:custGeom>
          <a:gradFill>
            <a:gsLst>
              <a:gs pos="0">
                <a:schemeClr val="accent1"/>
              </a:gs>
              <a:gs pos="85000">
                <a:schemeClr val="accent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0" name="Freeform 9"/>
          <p:cNvSpPr/>
          <p:nvPr/>
        </p:nvSpPr>
        <p:spPr>
          <a:xfrm>
            <a:off x="-3085" y="-4317"/>
            <a:ext cx="3366670" cy="1808791"/>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346198"/>
              <a:gd name="connsiteY0" fmla="*/ 0 h 1771137"/>
              <a:gd name="connsiteX1" fmla="*/ 3346198 w 3346198"/>
              <a:gd name="connsiteY1" fmla="*/ 3282 h 1771137"/>
              <a:gd name="connsiteX2" fmla="*/ 3153403 w 3346198"/>
              <a:gd name="connsiteY2" fmla="*/ 1771137 h 1771137"/>
              <a:gd name="connsiteX3" fmla="*/ 0 w 3346198"/>
              <a:gd name="connsiteY3" fmla="*/ 0 h 1771137"/>
              <a:gd name="connsiteX0" fmla="*/ 0 w 3346198"/>
              <a:gd name="connsiteY0" fmla="*/ 0 h 1766374"/>
              <a:gd name="connsiteX1" fmla="*/ 3346198 w 3346198"/>
              <a:gd name="connsiteY1" fmla="*/ 3282 h 1766374"/>
              <a:gd name="connsiteX2" fmla="*/ 3110540 w 3346198"/>
              <a:gd name="connsiteY2" fmla="*/ 1766374 h 1766374"/>
              <a:gd name="connsiteX3" fmla="*/ 0 w 3346198"/>
              <a:gd name="connsiteY3" fmla="*/ 0 h 1766374"/>
              <a:gd name="connsiteX0" fmla="*/ 0 w 3346198"/>
              <a:gd name="connsiteY0" fmla="*/ 0 h 1780662"/>
              <a:gd name="connsiteX1" fmla="*/ 3346198 w 3346198"/>
              <a:gd name="connsiteY1" fmla="*/ 3282 h 1780662"/>
              <a:gd name="connsiteX2" fmla="*/ 3091490 w 3346198"/>
              <a:gd name="connsiteY2" fmla="*/ 1780662 h 1780662"/>
              <a:gd name="connsiteX3" fmla="*/ 0 w 3346198"/>
              <a:gd name="connsiteY3" fmla="*/ 0 h 1780662"/>
              <a:gd name="connsiteX0" fmla="*/ 0 w 3346198"/>
              <a:gd name="connsiteY0" fmla="*/ 0 h 1804474"/>
              <a:gd name="connsiteX1" fmla="*/ 3346198 w 3346198"/>
              <a:gd name="connsiteY1" fmla="*/ 3282 h 1804474"/>
              <a:gd name="connsiteX2" fmla="*/ 3115303 w 3346198"/>
              <a:gd name="connsiteY2" fmla="*/ 1804474 h 1804474"/>
              <a:gd name="connsiteX3" fmla="*/ 0 w 3346198"/>
              <a:gd name="connsiteY3" fmla="*/ 0 h 1804474"/>
              <a:gd name="connsiteX0" fmla="*/ 0 w 3346198"/>
              <a:gd name="connsiteY0" fmla="*/ 10366 h 1801192"/>
              <a:gd name="connsiteX1" fmla="*/ 3346198 w 3346198"/>
              <a:gd name="connsiteY1" fmla="*/ 0 h 1801192"/>
              <a:gd name="connsiteX2" fmla="*/ 3115303 w 3346198"/>
              <a:gd name="connsiteY2" fmla="*/ 1801192 h 1801192"/>
              <a:gd name="connsiteX3" fmla="*/ 0 w 3346198"/>
              <a:gd name="connsiteY3" fmla="*/ 10366 h 1801192"/>
              <a:gd name="connsiteX0" fmla="*/ 0 w 3366670"/>
              <a:gd name="connsiteY0" fmla="*/ 0 h 1818122"/>
              <a:gd name="connsiteX1" fmla="*/ 3366670 w 3366670"/>
              <a:gd name="connsiteY1" fmla="*/ 16930 h 1818122"/>
              <a:gd name="connsiteX2" fmla="*/ 3135775 w 3366670"/>
              <a:gd name="connsiteY2" fmla="*/ 1818122 h 1818122"/>
              <a:gd name="connsiteX3" fmla="*/ 0 w 3366670"/>
              <a:gd name="connsiteY3" fmla="*/ 0 h 1818122"/>
              <a:gd name="connsiteX0" fmla="*/ 0 w 3363258"/>
              <a:gd name="connsiteY0" fmla="*/ 0 h 1811298"/>
              <a:gd name="connsiteX1" fmla="*/ 3363258 w 3363258"/>
              <a:gd name="connsiteY1" fmla="*/ 10106 h 1811298"/>
              <a:gd name="connsiteX2" fmla="*/ 3132363 w 3363258"/>
              <a:gd name="connsiteY2" fmla="*/ 1811298 h 1811298"/>
              <a:gd name="connsiteX3" fmla="*/ 0 w 3363258"/>
              <a:gd name="connsiteY3" fmla="*/ 0 h 1811298"/>
              <a:gd name="connsiteX0" fmla="*/ 0 w 3363258"/>
              <a:gd name="connsiteY0" fmla="*/ 0 h 1807886"/>
              <a:gd name="connsiteX1" fmla="*/ 3363258 w 3363258"/>
              <a:gd name="connsiteY1" fmla="*/ 6694 h 1807886"/>
              <a:gd name="connsiteX2" fmla="*/ 3132363 w 3363258"/>
              <a:gd name="connsiteY2" fmla="*/ 1807886 h 1807886"/>
              <a:gd name="connsiteX3" fmla="*/ 0 w 3363258"/>
              <a:gd name="connsiteY3" fmla="*/ 0 h 1807886"/>
              <a:gd name="connsiteX0" fmla="*/ 0 w 3363258"/>
              <a:gd name="connsiteY0" fmla="*/ 3542 h 1801192"/>
              <a:gd name="connsiteX1" fmla="*/ 3363258 w 3363258"/>
              <a:gd name="connsiteY1" fmla="*/ 0 h 1801192"/>
              <a:gd name="connsiteX2" fmla="*/ 3132363 w 3363258"/>
              <a:gd name="connsiteY2" fmla="*/ 1801192 h 1801192"/>
              <a:gd name="connsiteX3" fmla="*/ 0 w 3363258"/>
              <a:gd name="connsiteY3" fmla="*/ 3542 h 1801192"/>
              <a:gd name="connsiteX0" fmla="*/ 0 w 3366670"/>
              <a:gd name="connsiteY0" fmla="*/ 0 h 1804474"/>
              <a:gd name="connsiteX1" fmla="*/ 3366670 w 3366670"/>
              <a:gd name="connsiteY1" fmla="*/ 3282 h 1804474"/>
              <a:gd name="connsiteX2" fmla="*/ 3135775 w 3366670"/>
              <a:gd name="connsiteY2" fmla="*/ 1804474 h 1804474"/>
              <a:gd name="connsiteX3" fmla="*/ 0 w 3366670"/>
              <a:gd name="connsiteY3" fmla="*/ 0 h 1804474"/>
            </a:gdLst>
            <a:ahLst/>
            <a:cxnLst>
              <a:cxn ang="0">
                <a:pos x="connsiteX0" y="connsiteY0"/>
              </a:cxn>
              <a:cxn ang="0">
                <a:pos x="connsiteX1" y="connsiteY1"/>
              </a:cxn>
              <a:cxn ang="0">
                <a:pos x="connsiteX2" y="connsiteY2"/>
              </a:cxn>
              <a:cxn ang="0">
                <a:pos x="connsiteX3" y="connsiteY3"/>
              </a:cxn>
            </a:cxnLst>
            <a:rect l="l" t="t" r="r" b="b"/>
            <a:pathLst>
              <a:path w="3366670" h="1804474">
                <a:moveTo>
                  <a:pt x="0" y="0"/>
                </a:moveTo>
                <a:lnTo>
                  <a:pt x="3366670" y="3282"/>
                </a:lnTo>
                <a:lnTo>
                  <a:pt x="3135775" y="1804474"/>
                </a:lnTo>
                <a:lnTo>
                  <a:pt x="0" y="0"/>
                </a:lnTo>
                <a:close/>
              </a:path>
            </a:pathLst>
          </a:custGeom>
          <a:gradFill>
            <a:gsLst>
              <a:gs pos="100000">
                <a:schemeClr val="accent2"/>
              </a:gs>
              <a:gs pos="4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1" name="Freeform 10"/>
          <p:cNvSpPr/>
          <p:nvPr/>
        </p:nvSpPr>
        <p:spPr>
          <a:xfrm>
            <a:off x="3111696" y="1778988"/>
            <a:ext cx="3269644" cy="3085357"/>
          </a:xfrm>
          <a:custGeom>
            <a:avLst/>
            <a:gdLst>
              <a:gd name="connsiteX0" fmla="*/ 0 w 3237186"/>
              <a:gd name="connsiteY0" fmla="*/ 0 h 3095296"/>
              <a:gd name="connsiteX1" fmla="*/ 441434 w 3237186"/>
              <a:gd name="connsiteY1" fmla="*/ 3095296 h 3095296"/>
              <a:gd name="connsiteX2" fmla="*/ 3237186 w 3237186"/>
              <a:gd name="connsiteY2" fmla="*/ 1255986 h 3095296"/>
              <a:gd name="connsiteX3" fmla="*/ 0 w 3237186"/>
              <a:gd name="connsiteY3" fmla="*/ 0 h 3095296"/>
              <a:gd name="connsiteX0" fmla="*/ 0 w 3237186"/>
              <a:gd name="connsiteY0" fmla="*/ 0 h 3109584"/>
              <a:gd name="connsiteX1" fmla="*/ 441434 w 3237186"/>
              <a:gd name="connsiteY1" fmla="*/ 3109584 h 3109584"/>
              <a:gd name="connsiteX2" fmla="*/ 3237186 w 3237186"/>
              <a:gd name="connsiteY2" fmla="*/ 1270274 h 3109584"/>
              <a:gd name="connsiteX3" fmla="*/ 0 w 3237186"/>
              <a:gd name="connsiteY3" fmla="*/ 0 h 3109584"/>
              <a:gd name="connsiteX0" fmla="*/ 0 w 3237186"/>
              <a:gd name="connsiteY0" fmla="*/ 0 h 3085764"/>
              <a:gd name="connsiteX1" fmla="*/ 441434 w 3237186"/>
              <a:gd name="connsiteY1" fmla="*/ 3085764 h 3085764"/>
              <a:gd name="connsiteX2" fmla="*/ 3237186 w 3237186"/>
              <a:gd name="connsiteY2" fmla="*/ 1246454 h 3085764"/>
              <a:gd name="connsiteX3" fmla="*/ 0 w 3237186"/>
              <a:gd name="connsiteY3" fmla="*/ 0 h 3085764"/>
              <a:gd name="connsiteX0" fmla="*/ 0 w 3255520"/>
              <a:gd name="connsiteY0" fmla="*/ 0 h 3085764"/>
              <a:gd name="connsiteX1" fmla="*/ 441434 w 3255520"/>
              <a:gd name="connsiteY1" fmla="*/ 3085764 h 3085764"/>
              <a:gd name="connsiteX2" fmla="*/ 3255520 w 3255520"/>
              <a:gd name="connsiteY2" fmla="*/ 1239108 h 3085764"/>
              <a:gd name="connsiteX3" fmla="*/ 0 w 3255520"/>
              <a:gd name="connsiteY3" fmla="*/ 0 h 3085764"/>
              <a:gd name="connsiteX0" fmla="*/ 0 w 3255520"/>
              <a:gd name="connsiteY0" fmla="*/ 0 h 3088940"/>
              <a:gd name="connsiteX1" fmla="*/ 460457 w 3255520"/>
              <a:gd name="connsiteY1" fmla="*/ 3088940 h 3088940"/>
              <a:gd name="connsiteX2" fmla="*/ 3255520 w 3255520"/>
              <a:gd name="connsiteY2" fmla="*/ 1239108 h 3088940"/>
              <a:gd name="connsiteX3" fmla="*/ 0 w 3255520"/>
              <a:gd name="connsiteY3" fmla="*/ 0 h 3088940"/>
              <a:gd name="connsiteX0" fmla="*/ 0 w 3262334"/>
              <a:gd name="connsiteY0" fmla="*/ 0 h 3088940"/>
              <a:gd name="connsiteX1" fmla="*/ 460457 w 3262334"/>
              <a:gd name="connsiteY1" fmla="*/ 3088940 h 3088940"/>
              <a:gd name="connsiteX2" fmla="*/ 3262334 w 3262334"/>
              <a:gd name="connsiteY2" fmla="*/ 1239108 h 3088940"/>
              <a:gd name="connsiteX3" fmla="*/ 0 w 3262334"/>
              <a:gd name="connsiteY3" fmla="*/ 0 h 3088940"/>
              <a:gd name="connsiteX0" fmla="*/ 0 w 3264905"/>
              <a:gd name="connsiteY0" fmla="*/ 0 h 3086363"/>
              <a:gd name="connsiteX1" fmla="*/ 463028 w 3264905"/>
              <a:gd name="connsiteY1" fmla="*/ 3086363 h 3086363"/>
              <a:gd name="connsiteX2" fmla="*/ 3264905 w 3264905"/>
              <a:gd name="connsiteY2" fmla="*/ 1236531 h 3086363"/>
              <a:gd name="connsiteX3" fmla="*/ 0 w 3264905"/>
              <a:gd name="connsiteY3" fmla="*/ 0 h 3086363"/>
            </a:gdLst>
            <a:ahLst/>
            <a:cxnLst>
              <a:cxn ang="0">
                <a:pos x="connsiteX0" y="connsiteY0"/>
              </a:cxn>
              <a:cxn ang="0">
                <a:pos x="connsiteX1" y="connsiteY1"/>
              </a:cxn>
              <a:cxn ang="0">
                <a:pos x="connsiteX2" y="connsiteY2"/>
              </a:cxn>
              <a:cxn ang="0">
                <a:pos x="connsiteX3" y="connsiteY3"/>
              </a:cxn>
            </a:cxnLst>
            <a:rect l="l" t="t" r="r" b="b"/>
            <a:pathLst>
              <a:path w="3264905" h="3086363">
                <a:moveTo>
                  <a:pt x="0" y="0"/>
                </a:moveTo>
                <a:lnTo>
                  <a:pt x="463028" y="3086363"/>
                </a:lnTo>
                <a:lnTo>
                  <a:pt x="3264905" y="1236531"/>
                </a:lnTo>
                <a:lnTo>
                  <a:pt x="0" y="0"/>
                </a:lnTo>
                <a:close/>
              </a:path>
            </a:pathLst>
          </a:custGeom>
          <a:gradFill>
            <a:gsLst>
              <a:gs pos="15000">
                <a:schemeClr val="accent2"/>
              </a:gs>
              <a:gs pos="100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2" name="Freeform 11"/>
          <p:cNvSpPr/>
          <p:nvPr/>
        </p:nvSpPr>
        <p:spPr>
          <a:xfrm>
            <a:off x="7713406" y="2411362"/>
            <a:ext cx="1983659" cy="4457360"/>
          </a:xfrm>
          <a:custGeom>
            <a:avLst/>
            <a:gdLst>
              <a:gd name="connsiteX0" fmla="*/ 1983659 w 1983659"/>
              <a:gd name="connsiteY0" fmla="*/ 0 h 4431891"/>
              <a:gd name="connsiteX1" fmla="*/ 1032388 w 1983659"/>
              <a:gd name="connsiteY1" fmla="*/ 4431891 h 4431891"/>
              <a:gd name="connsiteX2" fmla="*/ 0 w 1983659"/>
              <a:gd name="connsiteY2" fmla="*/ 2286000 h 4431891"/>
              <a:gd name="connsiteX3" fmla="*/ 1983659 w 1983659"/>
              <a:gd name="connsiteY3" fmla="*/ 0 h 4431891"/>
              <a:gd name="connsiteX0" fmla="*/ 1983659 w 1983659"/>
              <a:gd name="connsiteY0" fmla="*/ 0 h 4439842"/>
              <a:gd name="connsiteX1" fmla="*/ 1000583 w 1983659"/>
              <a:gd name="connsiteY1" fmla="*/ 4439842 h 4439842"/>
              <a:gd name="connsiteX2" fmla="*/ 0 w 1983659"/>
              <a:gd name="connsiteY2" fmla="*/ 2286000 h 4439842"/>
              <a:gd name="connsiteX3" fmla="*/ 1983659 w 1983659"/>
              <a:gd name="connsiteY3" fmla="*/ 0 h 4439842"/>
              <a:gd name="connsiteX0" fmla="*/ 1983659 w 1983659"/>
              <a:gd name="connsiteY0" fmla="*/ 0 h 4447794"/>
              <a:gd name="connsiteX1" fmla="*/ 1000583 w 1983659"/>
              <a:gd name="connsiteY1" fmla="*/ 4447794 h 4447794"/>
              <a:gd name="connsiteX2" fmla="*/ 0 w 1983659"/>
              <a:gd name="connsiteY2" fmla="*/ 2286000 h 4447794"/>
              <a:gd name="connsiteX3" fmla="*/ 1983659 w 1983659"/>
              <a:gd name="connsiteY3" fmla="*/ 0 h 4447794"/>
              <a:gd name="connsiteX0" fmla="*/ 1983659 w 1983659"/>
              <a:gd name="connsiteY0" fmla="*/ 0 h 4471648"/>
              <a:gd name="connsiteX1" fmla="*/ 1000583 w 1983659"/>
              <a:gd name="connsiteY1" fmla="*/ 4471648 h 4471648"/>
              <a:gd name="connsiteX2" fmla="*/ 0 w 1983659"/>
              <a:gd name="connsiteY2" fmla="*/ 2286000 h 4471648"/>
              <a:gd name="connsiteX3" fmla="*/ 1983659 w 1983659"/>
              <a:gd name="connsiteY3" fmla="*/ 0 h 4471648"/>
              <a:gd name="connsiteX0" fmla="*/ 1983659 w 1983659"/>
              <a:gd name="connsiteY0" fmla="*/ 0 h 4457360"/>
              <a:gd name="connsiteX1" fmla="*/ 995820 w 1983659"/>
              <a:gd name="connsiteY1" fmla="*/ 4457360 h 4457360"/>
              <a:gd name="connsiteX2" fmla="*/ 0 w 1983659"/>
              <a:gd name="connsiteY2" fmla="*/ 2286000 h 4457360"/>
              <a:gd name="connsiteX3" fmla="*/ 1983659 w 1983659"/>
              <a:gd name="connsiteY3" fmla="*/ 0 h 4457360"/>
              <a:gd name="connsiteX0" fmla="*/ 1983659 w 1983659"/>
              <a:gd name="connsiteY0" fmla="*/ 0 h 4457360"/>
              <a:gd name="connsiteX1" fmla="*/ 991058 w 1983659"/>
              <a:gd name="connsiteY1" fmla="*/ 4457360 h 4457360"/>
              <a:gd name="connsiteX2" fmla="*/ 0 w 1983659"/>
              <a:gd name="connsiteY2" fmla="*/ 2286000 h 4457360"/>
              <a:gd name="connsiteX3" fmla="*/ 1983659 w 1983659"/>
              <a:gd name="connsiteY3" fmla="*/ 0 h 4457360"/>
            </a:gdLst>
            <a:ahLst/>
            <a:cxnLst>
              <a:cxn ang="0">
                <a:pos x="connsiteX0" y="connsiteY0"/>
              </a:cxn>
              <a:cxn ang="0">
                <a:pos x="connsiteX1" y="connsiteY1"/>
              </a:cxn>
              <a:cxn ang="0">
                <a:pos x="connsiteX2" y="connsiteY2"/>
              </a:cxn>
              <a:cxn ang="0">
                <a:pos x="connsiteX3" y="connsiteY3"/>
              </a:cxn>
            </a:cxnLst>
            <a:rect l="l" t="t" r="r" b="b"/>
            <a:pathLst>
              <a:path w="1983659" h="4457360">
                <a:moveTo>
                  <a:pt x="1983659" y="0"/>
                </a:moveTo>
                <a:lnTo>
                  <a:pt x="991058" y="4457360"/>
                </a:lnTo>
                <a:lnTo>
                  <a:pt x="0" y="2286000"/>
                </a:lnTo>
                <a:lnTo>
                  <a:pt x="1983659" y="0"/>
                </a:lnTo>
                <a:close/>
              </a:path>
            </a:pathLst>
          </a:custGeom>
          <a:gradFill>
            <a:gsLst>
              <a:gs pos="0">
                <a:schemeClr val="accent1"/>
              </a:gs>
              <a:gs pos="73000">
                <a:schemeClr val="accent2"/>
              </a:gs>
            </a:gsLst>
            <a:lin ang="9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3" name="Freeform 12"/>
          <p:cNvSpPr/>
          <p:nvPr/>
        </p:nvSpPr>
        <p:spPr>
          <a:xfrm>
            <a:off x="6341757" y="1209676"/>
            <a:ext cx="3359456" cy="1822946"/>
          </a:xfrm>
          <a:custGeom>
            <a:avLst/>
            <a:gdLst>
              <a:gd name="connsiteX0" fmla="*/ 1271587 w 3305175"/>
              <a:gd name="connsiteY0" fmla="*/ 0 h 1809750"/>
              <a:gd name="connsiteX1" fmla="*/ 3305175 w 3305175"/>
              <a:gd name="connsiteY1" fmla="*/ 1233487 h 1809750"/>
              <a:gd name="connsiteX2" fmla="*/ 0 w 3305175"/>
              <a:gd name="connsiteY2" fmla="*/ 1809750 h 1809750"/>
              <a:gd name="connsiteX3" fmla="*/ 1271587 w 3305175"/>
              <a:gd name="connsiteY3" fmla="*/ 0 h 1809750"/>
              <a:gd name="connsiteX0" fmla="*/ 1281112 w 3314700"/>
              <a:gd name="connsiteY0" fmla="*/ 0 h 1828800"/>
              <a:gd name="connsiteX1" fmla="*/ 3314700 w 3314700"/>
              <a:gd name="connsiteY1" fmla="*/ 1233487 h 1828800"/>
              <a:gd name="connsiteX2" fmla="*/ 0 w 3314700"/>
              <a:gd name="connsiteY2" fmla="*/ 1828800 h 1828800"/>
              <a:gd name="connsiteX3" fmla="*/ 1281112 w 3314700"/>
              <a:gd name="connsiteY3" fmla="*/ 0 h 1828800"/>
              <a:gd name="connsiteX0" fmla="*/ 1300162 w 3333750"/>
              <a:gd name="connsiteY0" fmla="*/ 0 h 1824037"/>
              <a:gd name="connsiteX1" fmla="*/ 3333750 w 3333750"/>
              <a:gd name="connsiteY1" fmla="*/ 1233487 h 1824037"/>
              <a:gd name="connsiteX2" fmla="*/ 0 w 3333750"/>
              <a:gd name="connsiteY2" fmla="*/ 1824037 h 1824037"/>
              <a:gd name="connsiteX3" fmla="*/ 1300162 w 3333750"/>
              <a:gd name="connsiteY3" fmla="*/ 0 h 1824037"/>
              <a:gd name="connsiteX0" fmla="*/ 1314449 w 3333750"/>
              <a:gd name="connsiteY0" fmla="*/ 0 h 1381124"/>
              <a:gd name="connsiteX1" fmla="*/ 3333750 w 3333750"/>
              <a:gd name="connsiteY1" fmla="*/ 790574 h 1381124"/>
              <a:gd name="connsiteX2" fmla="*/ 0 w 3333750"/>
              <a:gd name="connsiteY2" fmla="*/ 1381124 h 1381124"/>
              <a:gd name="connsiteX3" fmla="*/ 1314449 w 3333750"/>
              <a:gd name="connsiteY3" fmla="*/ 0 h 138112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Lst>
            <a:ahLst/>
            <a:cxnLst>
              <a:cxn ang="0">
                <a:pos x="connsiteX0" y="connsiteY0"/>
              </a:cxn>
              <a:cxn ang="0">
                <a:pos x="connsiteX1" y="connsiteY1"/>
              </a:cxn>
              <a:cxn ang="0">
                <a:pos x="connsiteX2" y="connsiteY2"/>
              </a:cxn>
              <a:cxn ang="0">
                <a:pos x="connsiteX3" y="connsiteY3"/>
              </a:cxn>
            </a:cxnLst>
            <a:rect l="l" t="t" r="r" b="b"/>
            <a:pathLst>
              <a:path w="3359456" h="1822946">
                <a:moveTo>
                  <a:pt x="1325868" y="0"/>
                </a:moveTo>
                <a:lnTo>
                  <a:pt x="3359456" y="1228724"/>
                </a:lnTo>
                <a:lnTo>
                  <a:pt x="0" y="1822946"/>
                </a:lnTo>
                <a:lnTo>
                  <a:pt x="1325868" y="0"/>
                </a:lnTo>
                <a:close/>
              </a:path>
            </a:pathLst>
          </a:custGeom>
          <a:gradFill>
            <a:gsLst>
              <a:gs pos="0">
                <a:schemeClr val="accent1"/>
              </a:gs>
              <a:gs pos="96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4" name="Freeform 13"/>
          <p:cNvSpPr/>
          <p:nvPr/>
        </p:nvSpPr>
        <p:spPr>
          <a:xfrm>
            <a:off x="-227" y="-2"/>
            <a:ext cx="1040749" cy="6862615"/>
          </a:xfrm>
          <a:custGeom>
            <a:avLst/>
            <a:gdLst>
              <a:gd name="connsiteX0" fmla="*/ 0 w 1076445"/>
              <a:gd name="connsiteY0" fmla="*/ 0 h 6817489"/>
              <a:gd name="connsiteX1" fmla="*/ 1076445 w 1076445"/>
              <a:gd name="connsiteY1" fmla="*/ 1805651 h 6817489"/>
              <a:gd name="connsiteX2" fmla="*/ 11574 w 1076445"/>
              <a:gd name="connsiteY2" fmla="*/ 6817489 h 6817489"/>
              <a:gd name="connsiteX3" fmla="*/ 0 w 1076445"/>
              <a:gd name="connsiteY3" fmla="*/ 0 h 6817489"/>
              <a:gd name="connsiteX0" fmla="*/ 0 w 873245"/>
              <a:gd name="connsiteY0" fmla="*/ 0 h 6817489"/>
              <a:gd name="connsiteX1" fmla="*/ 873245 w 873245"/>
              <a:gd name="connsiteY1" fmla="*/ 1764376 h 6817489"/>
              <a:gd name="connsiteX2" fmla="*/ 11574 w 873245"/>
              <a:gd name="connsiteY2" fmla="*/ 6817489 h 6817489"/>
              <a:gd name="connsiteX3" fmla="*/ 0 w 873245"/>
              <a:gd name="connsiteY3" fmla="*/ 0 h 6817489"/>
              <a:gd name="connsiteX0" fmla="*/ 0 w 1047870"/>
              <a:gd name="connsiteY0" fmla="*/ 0 h 6817489"/>
              <a:gd name="connsiteX1" fmla="*/ 1047870 w 1047870"/>
              <a:gd name="connsiteY1" fmla="*/ 1770726 h 6817489"/>
              <a:gd name="connsiteX2" fmla="*/ 11574 w 1047870"/>
              <a:gd name="connsiteY2" fmla="*/ 6817489 h 6817489"/>
              <a:gd name="connsiteX3" fmla="*/ 0 w 1047870"/>
              <a:gd name="connsiteY3" fmla="*/ 0 h 6817489"/>
              <a:gd name="connsiteX0" fmla="*/ 0 w 698013"/>
              <a:gd name="connsiteY0" fmla="*/ 0 h 6817489"/>
              <a:gd name="connsiteX1" fmla="*/ 698013 w 698013"/>
              <a:gd name="connsiteY1" fmla="*/ 2181752 h 6817489"/>
              <a:gd name="connsiteX2" fmla="*/ 11574 w 698013"/>
              <a:gd name="connsiteY2" fmla="*/ 6817489 h 6817489"/>
              <a:gd name="connsiteX3" fmla="*/ 0 w 698013"/>
              <a:gd name="connsiteY3" fmla="*/ 0 h 6817489"/>
              <a:gd name="connsiteX0" fmla="*/ 0 w 1039919"/>
              <a:gd name="connsiteY0" fmla="*/ 0 h 6817489"/>
              <a:gd name="connsiteX1" fmla="*/ 1039919 w 1039919"/>
              <a:gd name="connsiteY1" fmla="*/ 1762823 h 6817489"/>
              <a:gd name="connsiteX2" fmla="*/ 11574 w 1039919"/>
              <a:gd name="connsiteY2" fmla="*/ 6817489 h 6817489"/>
              <a:gd name="connsiteX3" fmla="*/ 0 w 1039919"/>
              <a:gd name="connsiteY3" fmla="*/ 0 h 6817489"/>
              <a:gd name="connsiteX0" fmla="*/ 0 w 823788"/>
              <a:gd name="connsiteY0" fmla="*/ 0 h 6817489"/>
              <a:gd name="connsiteX1" fmla="*/ 823788 w 823788"/>
              <a:gd name="connsiteY1" fmla="*/ 1820668 h 6817489"/>
              <a:gd name="connsiteX2" fmla="*/ 11574 w 823788"/>
              <a:gd name="connsiteY2" fmla="*/ 6817489 h 6817489"/>
              <a:gd name="connsiteX3" fmla="*/ 0 w 823788"/>
              <a:gd name="connsiteY3" fmla="*/ 0 h 6817489"/>
              <a:gd name="connsiteX0" fmla="*/ 0 w 1035762"/>
              <a:gd name="connsiteY0" fmla="*/ 0 h 6817489"/>
              <a:gd name="connsiteX1" fmla="*/ 1035762 w 1035762"/>
              <a:gd name="connsiteY1" fmla="*/ 1766955 h 6817489"/>
              <a:gd name="connsiteX2" fmla="*/ 11574 w 1035762"/>
              <a:gd name="connsiteY2" fmla="*/ 6817489 h 6817489"/>
              <a:gd name="connsiteX3" fmla="*/ 0 w 1035762"/>
              <a:gd name="connsiteY3" fmla="*/ 0 h 6817489"/>
              <a:gd name="connsiteX0" fmla="*/ 0 w 1040524"/>
              <a:gd name="connsiteY0" fmla="*/ 0 h 6817489"/>
              <a:gd name="connsiteX1" fmla="*/ 1040524 w 1040524"/>
              <a:gd name="connsiteY1" fmla="*/ 1762221 h 6817489"/>
              <a:gd name="connsiteX2" fmla="*/ 11574 w 1040524"/>
              <a:gd name="connsiteY2" fmla="*/ 6817489 h 6817489"/>
              <a:gd name="connsiteX3" fmla="*/ 0 w 1040524"/>
              <a:gd name="connsiteY3" fmla="*/ 0 h 6817489"/>
              <a:gd name="connsiteX0" fmla="*/ 225 w 1040749"/>
              <a:gd name="connsiteY0" fmla="*/ 0 h 6858541"/>
              <a:gd name="connsiteX1" fmla="*/ 1040749 w 1040749"/>
              <a:gd name="connsiteY1" fmla="*/ 1762221 h 6858541"/>
              <a:gd name="connsiteX2" fmla="*/ 0 w 1040749"/>
              <a:gd name="connsiteY2" fmla="*/ 6858541 h 6858541"/>
              <a:gd name="connsiteX3" fmla="*/ 225 w 1040749"/>
              <a:gd name="connsiteY3" fmla="*/ 0 h 6858541"/>
              <a:gd name="connsiteX0" fmla="*/ 225 w 1040749"/>
              <a:gd name="connsiteY0" fmla="*/ 0 h 6835083"/>
              <a:gd name="connsiteX1" fmla="*/ 1040749 w 1040749"/>
              <a:gd name="connsiteY1" fmla="*/ 1762221 h 6835083"/>
              <a:gd name="connsiteX2" fmla="*/ 0 w 1040749"/>
              <a:gd name="connsiteY2" fmla="*/ 6835083 h 6835083"/>
              <a:gd name="connsiteX3" fmla="*/ 225 w 1040749"/>
              <a:gd name="connsiteY3" fmla="*/ 0 h 6835083"/>
            </a:gdLst>
            <a:ahLst/>
            <a:cxnLst>
              <a:cxn ang="0">
                <a:pos x="connsiteX0" y="connsiteY0"/>
              </a:cxn>
              <a:cxn ang="0">
                <a:pos x="connsiteX1" y="connsiteY1"/>
              </a:cxn>
              <a:cxn ang="0">
                <a:pos x="connsiteX2" y="connsiteY2"/>
              </a:cxn>
              <a:cxn ang="0">
                <a:pos x="connsiteX3" y="connsiteY3"/>
              </a:cxn>
            </a:cxnLst>
            <a:rect l="l" t="t" r="r" b="b"/>
            <a:pathLst>
              <a:path w="1040749" h="6835083">
                <a:moveTo>
                  <a:pt x="225" y="0"/>
                </a:moveTo>
                <a:lnTo>
                  <a:pt x="1040749" y="1762221"/>
                </a:lnTo>
                <a:lnTo>
                  <a:pt x="0" y="6835083"/>
                </a:lnTo>
                <a:lnTo>
                  <a:pt x="225" y="0"/>
                </a:lnTo>
                <a:close/>
              </a:path>
            </a:pathLst>
          </a:custGeom>
          <a:gradFill>
            <a:gsLst>
              <a:gs pos="19000">
                <a:schemeClr val="accent2"/>
              </a:gs>
              <a:gs pos="94000">
                <a:schemeClr val="accent1"/>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5" name="Freeform 14"/>
          <p:cNvSpPr/>
          <p:nvPr/>
        </p:nvSpPr>
        <p:spPr>
          <a:xfrm>
            <a:off x="3119436" y="-1"/>
            <a:ext cx="3260163" cy="3022037"/>
          </a:xfrm>
          <a:custGeom>
            <a:avLst/>
            <a:gdLst>
              <a:gd name="connsiteX0" fmla="*/ 185737 w 3228975"/>
              <a:gd name="connsiteY0" fmla="*/ 0 h 3024188"/>
              <a:gd name="connsiteX1" fmla="*/ 0 w 3228975"/>
              <a:gd name="connsiteY1" fmla="*/ 1771650 h 3024188"/>
              <a:gd name="connsiteX2" fmla="*/ 3228975 w 3228975"/>
              <a:gd name="connsiteY2" fmla="*/ 3024188 h 3024188"/>
              <a:gd name="connsiteX3" fmla="*/ 185737 w 3228975"/>
              <a:gd name="connsiteY3"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1976437 w 3228975"/>
              <a:gd name="connsiteY3" fmla="*/ 1776413 h 3024188"/>
              <a:gd name="connsiteX4" fmla="*/ 185737 w 3228975"/>
              <a:gd name="connsiteY4"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2733674 w 3228975"/>
              <a:gd name="connsiteY3" fmla="*/ 1281113 h 3024188"/>
              <a:gd name="connsiteX4" fmla="*/ 185737 w 3228975"/>
              <a:gd name="connsiteY4" fmla="*/ 0 h 3024188"/>
              <a:gd name="connsiteX0" fmla="*/ 185737 w 3181350"/>
              <a:gd name="connsiteY0" fmla="*/ 0 h 2481263"/>
              <a:gd name="connsiteX1" fmla="*/ 0 w 3181350"/>
              <a:gd name="connsiteY1" fmla="*/ 1771650 h 2481263"/>
              <a:gd name="connsiteX2" fmla="*/ 3181350 w 3181350"/>
              <a:gd name="connsiteY2" fmla="*/ 2481263 h 2481263"/>
              <a:gd name="connsiteX3" fmla="*/ 2733674 w 3181350"/>
              <a:gd name="connsiteY3" fmla="*/ 1281113 h 2481263"/>
              <a:gd name="connsiteX4" fmla="*/ 185737 w 3181350"/>
              <a:gd name="connsiteY4" fmla="*/ 0 h 24812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1113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5876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185737 w 3214688"/>
              <a:gd name="connsiteY3" fmla="*/ 0 h 3014663"/>
              <a:gd name="connsiteX0" fmla="*/ 190500 w 3219451"/>
              <a:gd name="connsiteY0" fmla="*/ 0 h 3014663"/>
              <a:gd name="connsiteX1" fmla="*/ 0 w 3219451"/>
              <a:gd name="connsiteY1" fmla="*/ 1781175 h 3014663"/>
              <a:gd name="connsiteX2" fmla="*/ 3219451 w 3219451"/>
              <a:gd name="connsiteY2" fmla="*/ 3014663 h 3014663"/>
              <a:gd name="connsiteX3" fmla="*/ 190500 w 3219451"/>
              <a:gd name="connsiteY3" fmla="*/ 0 h 3014663"/>
              <a:gd name="connsiteX0" fmla="*/ 190500 w 3219451"/>
              <a:gd name="connsiteY0" fmla="*/ 0 h 3014663"/>
              <a:gd name="connsiteX1" fmla="*/ 0 w 3219451"/>
              <a:gd name="connsiteY1" fmla="*/ 1766887 h 3014663"/>
              <a:gd name="connsiteX2" fmla="*/ 3219451 w 3219451"/>
              <a:gd name="connsiteY2" fmla="*/ 3014663 h 3014663"/>
              <a:gd name="connsiteX3" fmla="*/ 190500 w 3219451"/>
              <a:gd name="connsiteY3" fmla="*/ 0 h 3014663"/>
              <a:gd name="connsiteX0" fmla="*/ 223838 w 3252789"/>
              <a:gd name="connsiteY0" fmla="*/ 0 h 3014663"/>
              <a:gd name="connsiteX1" fmla="*/ 0 w 3252789"/>
              <a:gd name="connsiteY1" fmla="*/ 1771650 h 3014663"/>
              <a:gd name="connsiteX2" fmla="*/ 3252789 w 3252789"/>
              <a:gd name="connsiteY2" fmla="*/ 3014663 h 3014663"/>
              <a:gd name="connsiteX3" fmla="*/ 223838 w 3252789"/>
              <a:gd name="connsiteY3" fmla="*/ 0 h 3014663"/>
              <a:gd name="connsiteX0" fmla="*/ 223838 w 3252789"/>
              <a:gd name="connsiteY0" fmla="*/ 0 h 3014663"/>
              <a:gd name="connsiteX1" fmla="*/ 0 w 3252789"/>
              <a:gd name="connsiteY1" fmla="*/ 1790700 h 3014663"/>
              <a:gd name="connsiteX2" fmla="*/ 3252789 w 3252789"/>
              <a:gd name="connsiteY2" fmla="*/ 3014663 h 3014663"/>
              <a:gd name="connsiteX3" fmla="*/ 223838 w 3252789"/>
              <a:gd name="connsiteY3" fmla="*/ 0 h 3014663"/>
              <a:gd name="connsiteX0" fmla="*/ 223838 w 3252789"/>
              <a:gd name="connsiteY0" fmla="*/ 0 h 3022037"/>
              <a:gd name="connsiteX1" fmla="*/ 0 w 3252789"/>
              <a:gd name="connsiteY1" fmla="*/ 1790700 h 3022037"/>
              <a:gd name="connsiteX2" fmla="*/ 3252789 w 3252789"/>
              <a:gd name="connsiteY2" fmla="*/ 3022037 h 3022037"/>
              <a:gd name="connsiteX3" fmla="*/ 223838 w 3252789"/>
              <a:gd name="connsiteY3" fmla="*/ 0 h 3022037"/>
              <a:gd name="connsiteX0" fmla="*/ 223838 w 3260163"/>
              <a:gd name="connsiteY0" fmla="*/ 0 h 3014663"/>
              <a:gd name="connsiteX1" fmla="*/ 0 w 3260163"/>
              <a:gd name="connsiteY1" fmla="*/ 1790700 h 3014663"/>
              <a:gd name="connsiteX2" fmla="*/ 3260163 w 3260163"/>
              <a:gd name="connsiteY2" fmla="*/ 3014663 h 3014663"/>
              <a:gd name="connsiteX3" fmla="*/ 223838 w 3260163"/>
              <a:gd name="connsiteY3" fmla="*/ 0 h 3014663"/>
              <a:gd name="connsiteX0" fmla="*/ 223838 w 3260163"/>
              <a:gd name="connsiteY0" fmla="*/ 0 h 3022037"/>
              <a:gd name="connsiteX1" fmla="*/ 0 w 3260163"/>
              <a:gd name="connsiteY1" fmla="*/ 1790700 h 3022037"/>
              <a:gd name="connsiteX2" fmla="*/ 3260163 w 3260163"/>
              <a:gd name="connsiteY2" fmla="*/ 3022037 h 3022037"/>
              <a:gd name="connsiteX3" fmla="*/ 223838 w 3260163"/>
              <a:gd name="connsiteY3" fmla="*/ 0 h 3022037"/>
            </a:gdLst>
            <a:ahLst/>
            <a:cxnLst>
              <a:cxn ang="0">
                <a:pos x="connsiteX0" y="connsiteY0"/>
              </a:cxn>
              <a:cxn ang="0">
                <a:pos x="connsiteX1" y="connsiteY1"/>
              </a:cxn>
              <a:cxn ang="0">
                <a:pos x="connsiteX2" y="connsiteY2"/>
              </a:cxn>
              <a:cxn ang="0">
                <a:pos x="connsiteX3" y="connsiteY3"/>
              </a:cxn>
            </a:cxnLst>
            <a:rect l="l" t="t" r="r" b="b"/>
            <a:pathLst>
              <a:path w="3260163" h="3022037">
                <a:moveTo>
                  <a:pt x="223838" y="0"/>
                </a:moveTo>
                <a:lnTo>
                  <a:pt x="0" y="1790700"/>
                </a:lnTo>
                <a:lnTo>
                  <a:pt x="3260163" y="3022037"/>
                </a:lnTo>
                <a:lnTo>
                  <a:pt x="223838" y="0"/>
                </a:lnTo>
                <a:close/>
              </a:path>
            </a:pathLst>
          </a:custGeom>
          <a:gradFill>
            <a:gsLst>
              <a:gs pos="58000">
                <a:schemeClr val="accent2"/>
              </a:gs>
              <a:gs pos="0">
                <a:schemeClr val="accent1"/>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6" name="Freeform 15"/>
          <p:cNvSpPr/>
          <p:nvPr/>
        </p:nvSpPr>
        <p:spPr>
          <a:xfrm>
            <a:off x="3343275" y="0"/>
            <a:ext cx="4337998" cy="3019426"/>
          </a:xfrm>
          <a:custGeom>
            <a:avLst/>
            <a:gdLst>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37998"/>
              <a:gd name="connsiteY0" fmla="*/ 0 h 3019426"/>
              <a:gd name="connsiteX1" fmla="*/ 4337998 w 4337998"/>
              <a:gd name="connsiteY1" fmla="*/ 1214438 h 3019426"/>
              <a:gd name="connsiteX2" fmla="*/ 3028950 w 4337998"/>
              <a:gd name="connsiteY2" fmla="*/ 3019426 h 3019426"/>
              <a:gd name="connsiteX3" fmla="*/ 0 w 4337998"/>
              <a:gd name="connsiteY3" fmla="*/ 0 h 3019426"/>
              <a:gd name="connsiteX0" fmla="*/ 0 w 4337998"/>
              <a:gd name="connsiteY0" fmla="*/ 0 h 3019426"/>
              <a:gd name="connsiteX1" fmla="*/ 4337998 w 4337998"/>
              <a:gd name="connsiteY1" fmla="*/ 1214438 h 3019426"/>
              <a:gd name="connsiteX2" fmla="*/ 3015303 w 4337998"/>
              <a:gd name="connsiteY2" fmla="*/ 3019426 h 3019426"/>
              <a:gd name="connsiteX3" fmla="*/ 0 w 4337998"/>
              <a:gd name="connsiteY3" fmla="*/ 0 h 3019426"/>
            </a:gdLst>
            <a:ahLst/>
            <a:cxnLst>
              <a:cxn ang="0">
                <a:pos x="connsiteX0" y="connsiteY0"/>
              </a:cxn>
              <a:cxn ang="0">
                <a:pos x="connsiteX1" y="connsiteY1"/>
              </a:cxn>
              <a:cxn ang="0">
                <a:pos x="connsiteX2" y="connsiteY2"/>
              </a:cxn>
              <a:cxn ang="0">
                <a:pos x="connsiteX3" y="connsiteY3"/>
              </a:cxn>
            </a:cxnLst>
            <a:rect l="l" t="t" r="r" b="b"/>
            <a:pathLst>
              <a:path w="4337998" h="3019426">
                <a:moveTo>
                  <a:pt x="0" y="0"/>
                </a:moveTo>
                <a:lnTo>
                  <a:pt x="4337998" y="1214438"/>
                </a:lnTo>
                <a:lnTo>
                  <a:pt x="3015303" y="3019426"/>
                </a:lnTo>
                <a:lnTo>
                  <a:pt x="0" y="0"/>
                </a:lnTo>
                <a:close/>
              </a:path>
            </a:pathLst>
          </a:custGeom>
          <a:gradFill>
            <a:gsLst>
              <a:gs pos="10000">
                <a:schemeClr val="accent2"/>
              </a:gs>
              <a:gs pos="100000">
                <a:schemeClr val="accent1"/>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r>
              <a:rPr lang="en-US" sz="2000">
                <a:solidFill>
                  <a:srgbClr val="FFFFFF"/>
                </a:solidFill>
              </a:rPr>
              <a:t>s</a:t>
            </a:r>
            <a:endParaRPr lang="en-US" sz="2000" dirty="0">
              <a:solidFill>
                <a:srgbClr val="FFFFFF"/>
              </a:solidFill>
            </a:endParaRPr>
          </a:p>
        </p:txBody>
      </p:sp>
      <p:sp>
        <p:nvSpPr>
          <p:cNvPr id="17" name="Freeform 16"/>
          <p:cNvSpPr/>
          <p:nvPr/>
        </p:nvSpPr>
        <p:spPr>
          <a:xfrm>
            <a:off x="7667625" y="1"/>
            <a:ext cx="4524375" cy="1214438"/>
          </a:xfrm>
          <a:custGeom>
            <a:avLst/>
            <a:gdLst>
              <a:gd name="connsiteX0" fmla="*/ 3367088 w 4524375"/>
              <a:gd name="connsiteY0" fmla="*/ 0 h 1223963"/>
              <a:gd name="connsiteX1" fmla="*/ 0 w 4524375"/>
              <a:gd name="connsiteY1" fmla="*/ 1223963 h 1223963"/>
              <a:gd name="connsiteX2" fmla="*/ 4524375 w 4524375"/>
              <a:gd name="connsiteY2" fmla="*/ 1071563 h 1223963"/>
              <a:gd name="connsiteX3" fmla="*/ 3367088 w 4524375"/>
              <a:gd name="connsiteY3" fmla="*/ 0 h 1223963"/>
              <a:gd name="connsiteX0" fmla="*/ 3352800 w 4524375"/>
              <a:gd name="connsiteY0" fmla="*/ 0 h 1233489"/>
              <a:gd name="connsiteX1" fmla="*/ 0 w 4524375"/>
              <a:gd name="connsiteY1" fmla="*/ 1233489 h 1233489"/>
              <a:gd name="connsiteX2" fmla="*/ 4524375 w 4524375"/>
              <a:gd name="connsiteY2" fmla="*/ 1081089 h 1233489"/>
              <a:gd name="connsiteX3" fmla="*/ 3352800 w 4524375"/>
              <a:gd name="connsiteY3" fmla="*/ 0 h 1233489"/>
              <a:gd name="connsiteX0" fmla="*/ 3352800 w 4524375"/>
              <a:gd name="connsiteY0" fmla="*/ 0 h 1228726"/>
              <a:gd name="connsiteX1" fmla="*/ 0 w 4524375"/>
              <a:gd name="connsiteY1" fmla="*/ 1228726 h 1228726"/>
              <a:gd name="connsiteX2" fmla="*/ 4524375 w 4524375"/>
              <a:gd name="connsiteY2" fmla="*/ 1076326 h 1228726"/>
              <a:gd name="connsiteX3" fmla="*/ 3352800 w 4524375"/>
              <a:gd name="connsiteY3" fmla="*/ 0 h 1228726"/>
              <a:gd name="connsiteX0" fmla="*/ 3357563 w 4524375"/>
              <a:gd name="connsiteY0" fmla="*/ 0 h 1223963"/>
              <a:gd name="connsiteX1" fmla="*/ 0 w 4524375"/>
              <a:gd name="connsiteY1" fmla="*/ 1223963 h 1223963"/>
              <a:gd name="connsiteX2" fmla="*/ 4524375 w 4524375"/>
              <a:gd name="connsiteY2" fmla="*/ 1071563 h 1223963"/>
              <a:gd name="connsiteX3" fmla="*/ 3357563 w 4524375"/>
              <a:gd name="connsiteY3" fmla="*/ 0 h 1223963"/>
              <a:gd name="connsiteX0" fmla="*/ 3371851 w 4538663"/>
              <a:gd name="connsiteY0" fmla="*/ 0 h 1219200"/>
              <a:gd name="connsiteX1" fmla="*/ 0 w 4538663"/>
              <a:gd name="connsiteY1" fmla="*/ 1219200 h 1219200"/>
              <a:gd name="connsiteX2" fmla="*/ 4538663 w 4538663"/>
              <a:gd name="connsiteY2" fmla="*/ 1071563 h 1219200"/>
              <a:gd name="connsiteX3" fmla="*/ 3371851 w 4538663"/>
              <a:gd name="connsiteY3" fmla="*/ 0 h 1219200"/>
              <a:gd name="connsiteX0" fmla="*/ 3243264 w 4410076"/>
              <a:gd name="connsiteY0" fmla="*/ 0 h 1071563"/>
              <a:gd name="connsiteX1" fmla="*/ 0 w 4410076"/>
              <a:gd name="connsiteY1" fmla="*/ 1033463 h 1071563"/>
              <a:gd name="connsiteX2" fmla="*/ 4410076 w 4410076"/>
              <a:gd name="connsiteY2" fmla="*/ 1071563 h 1071563"/>
              <a:gd name="connsiteX3" fmla="*/ 3243264 w 4410076"/>
              <a:gd name="connsiteY3" fmla="*/ 0 h 1071563"/>
              <a:gd name="connsiteX0" fmla="*/ 3352801 w 4519613"/>
              <a:gd name="connsiteY0" fmla="*/ 0 h 1214438"/>
              <a:gd name="connsiteX1" fmla="*/ 0 w 4519613"/>
              <a:gd name="connsiteY1" fmla="*/ 1214438 h 1214438"/>
              <a:gd name="connsiteX2" fmla="*/ 4519613 w 4519613"/>
              <a:gd name="connsiteY2" fmla="*/ 1071563 h 1214438"/>
              <a:gd name="connsiteX3" fmla="*/ 3352801 w 4519613"/>
              <a:gd name="connsiteY3" fmla="*/ 0 h 1214438"/>
              <a:gd name="connsiteX0" fmla="*/ 3352801 w 4533261"/>
              <a:gd name="connsiteY0" fmla="*/ 0 h 1214438"/>
              <a:gd name="connsiteX1" fmla="*/ 0 w 4533261"/>
              <a:gd name="connsiteY1" fmla="*/ 1214438 h 1214438"/>
              <a:gd name="connsiteX2" fmla="*/ 4533261 w 4533261"/>
              <a:gd name="connsiteY2" fmla="*/ 1071563 h 1214438"/>
              <a:gd name="connsiteX3" fmla="*/ 3352801 w 4533261"/>
              <a:gd name="connsiteY3" fmla="*/ 0 h 1214438"/>
              <a:gd name="connsiteX0" fmla="*/ 3352801 w 4533261"/>
              <a:gd name="connsiteY0" fmla="*/ 0 h 1214438"/>
              <a:gd name="connsiteX1" fmla="*/ 0 w 4533261"/>
              <a:gd name="connsiteY1" fmla="*/ 1214438 h 1214438"/>
              <a:gd name="connsiteX2" fmla="*/ 4533261 w 4533261"/>
              <a:gd name="connsiteY2" fmla="*/ 1098859 h 1214438"/>
              <a:gd name="connsiteX3" fmla="*/ 3352801 w 4533261"/>
              <a:gd name="connsiteY3" fmla="*/ 0 h 1214438"/>
            </a:gdLst>
            <a:ahLst/>
            <a:cxnLst>
              <a:cxn ang="0">
                <a:pos x="connsiteX0" y="connsiteY0"/>
              </a:cxn>
              <a:cxn ang="0">
                <a:pos x="connsiteX1" y="connsiteY1"/>
              </a:cxn>
              <a:cxn ang="0">
                <a:pos x="connsiteX2" y="connsiteY2"/>
              </a:cxn>
              <a:cxn ang="0">
                <a:pos x="connsiteX3" y="connsiteY3"/>
              </a:cxn>
            </a:cxnLst>
            <a:rect l="l" t="t" r="r" b="b"/>
            <a:pathLst>
              <a:path w="4533261" h="1214438">
                <a:moveTo>
                  <a:pt x="3352801" y="0"/>
                </a:moveTo>
                <a:lnTo>
                  <a:pt x="0" y="1214438"/>
                </a:lnTo>
                <a:lnTo>
                  <a:pt x="4533261" y="1098859"/>
                </a:lnTo>
                <a:lnTo>
                  <a:pt x="3352801" y="0"/>
                </a:lnTo>
                <a:close/>
              </a:path>
            </a:pathLst>
          </a:custGeom>
          <a:gradFill>
            <a:gsLst>
              <a:gs pos="15000">
                <a:schemeClr val="accent2"/>
              </a:gs>
              <a:gs pos="100000">
                <a:schemeClr val="accent1"/>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8" name="Freeform 17"/>
          <p:cNvSpPr/>
          <p:nvPr/>
        </p:nvSpPr>
        <p:spPr>
          <a:xfrm>
            <a:off x="11015664" y="1"/>
            <a:ext cx="1176841" cy="1098080"/>
          </a:xfrm>
          <a:custGeom>
            <a:avLst/>
            <a:gdLst>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6299"/>
              <a:gd name="connsiteY0" fmla="*/ 0 h 1085850"/>
              <a:gd name="connsiteX1" fmla="*/ 1176299 w 1176299"/>
              <a:gd name="connsiteY1" fmla="*/ 1085850 h 1085850"/>
              <a:gd name="connsiteX2" fmla="*/ 1171575 w 1176299"/>
              <a:gd name="connsiteY2" fmla="*/ 0 h 1085850"/>
              <a:gd name="connsiteX3" fmla="*/ 0 w 1176299"/>
              <a:gd name="connsiteY3" fmla="*/ 0 h 1085850"/>
              <a:gd name="connsiteX0" fmla="*/ 0 w 1181344"/>
              <a:gd name="connsiteY0" fmla="*/ 0 h 1085850"/>
              <a:gd name="connsiteX1" fmla="*/ 1176299 w 1181344"/>
              <a:gd name="connsiteY1" fmla="*/ 1085850 h 1085850"/>
              <a:gd name="connsiteX2" fmla="*/ 1181138 w 1181344"/>
              <a:gd name="connsiteY2" fmla="*/ 0 h 1085850"/>
              <a:gd name="connsiteX3" fmla="*/ 0 w 1181344"/>
              <a:gd name="connsiteY3" fmla="*/ 0 h 1085850"/>
              <a:gd name="connsiteX0" fmla="*/ 0 w 1181586"/>
              <a:gd name="connsiteY0" fmla="*/ 0 h 1081088"/>
              <a:gd name="connsiteX1" fmla="*/ 1181080 w 1181586"/>
              <a:gd name="connsiteY1" fmla="*/ 1081088 h 1081088"/>
              <a:gd name="connsiteX2" fmla="*/ 1181138 w 1181586"/>
              <a:gd name="connsiteY2" fmla="*/ 0 h 1081088"/>
              <a:gd name="connsiteX3" fmla="*/ 0 w 1181586"/>
              <a:gd name="connsiteY3" fmla="*/ 0 h 1081088"/>
              <a:gd name="connsiteX0" fmla="*/ 0 w 1181586"/>
              <a:gd name="connsiteY0" fmla="*/ 0 h 1070785"/>
              <a:gd name="connsiteX1" fmla="*/ 1181080 w 1181586"/>
              <a:gd name="connsiteY1" fmla="*/ 1070785 h 1070785"/>
              <a:gd name="connsiteX2" fmla="*/ 1181138 w 1181586"/>
              <a:gd name="connsiteY2" fmla="*/ 0 h 1070785"/>
              <a:gd name="connsiteX3" fmla="*/ 0 w 1181586"/>
              <a:gd name="connsiteY3" fmla="*/ 0 h 1070785"/>
              <a:gd name="connsiteX0" fmla="*/ 0 w 1181152"/>
              <a:gd name="connsiteY0" fmla="*/ 0 h 593113"/>
              <a:gd name="connsiteX1" fmla="*/ 1057755 w 1181152"/>
              <a:gd name="connsiteY1" fmla="*/ 593113 h 593113"/>
              <a:gd name="connsiteX2" fmla="*/ 1181138 w 1181152"/>
              <a:gd name="connsiteY2" fmla="*/ 0 h 593113"/>
              <a:gd name="connsiteX3" fmla="*/ 0 w 1181152"/>
              <a:gd name="connsiteY3" fmla="*/ 0 h 593113"/>
              <a:gd name="connsiteX0" fmla="*/ 0 w 1181586"/>
              <a:gd name="connsiteY0" fmla="*/ 0 h 1098080"/>
              <a:gd name="connsiteX1" fmla="*/ 1181081 w 1181586"/>
              <a:gd name="connsiteY1" fmla="*/ 1098080 h 1098080"/>
              <a:gd name="connsiteX2" fmla="*/ 1181138 w 1181586"/>
              <a:gd name="connsiteY2" fmla="*/ 0 h 1098080"/>
              <a:gd name="connsiteX3" fmla="*/ 0 w 1181586"/>
              <a:gd name="connsiteY3" fmla="*/ 0 h 1098080"/>
            </a:gdLst>
            <a:ahLst/>
            <a:cxnLst>
              <a:cxn ang="0">
                <a:pos x="connsiteX0" y="connsiteY0"/>
              </a:cxn>
              <a:cxn ang="0">
                <a:pos x="connsiteX1" y="connsiteY1"/>
              </a:cxn>
              <a:cxn ang="0">
                <a:pos x="connsiteX2" y="connsiteY2"/>
              </a:cxn>
              <a:cxn ang="0">
                <a:pos x="connsiteX3" y="connsiteY3"/>
              </a:cxn>
            </a:cxnLst>
            <a:rect l="l" t="t" r="r" b="b"/>
            <a:pathLst>
              <a:path w="1181586" h="1098080">
                <a:moveTo>
                  <a:pt x="0" y="0"/>
                </a:moveTo>
                <a:lnTo>
                  <a:pt x="1181081" y="1098080"/>
                </a:lnTo>
                <a:cubicBezTo>
                  <a:pt x="1179506" y="736130"/>
                  <a:pt x="1182713" y="361950"/>
                  <a:pt x="1181138" y="0"/>
                </a:cubicBezTo>
                <a:lnTo>
                  <a:pt x="0" y="0"/>
                </a:lnTo>
                <a:close/>
              </a:path>
            </a:pathLst>
          </a:custGeom>
          <a:gradFill>
            <a:gsLst>
              <a:gs pos="23000">
                <a:schemeClr val="accent1"/>
              </a:gs>
              <a:gs pos="100000">
                <a:schemeClr val="accent2"/>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9" name="Freeform 18"/>
          <p:cNvSpPr/>
          <p:nvPr/>
        </p:nvSpPr>
        <p:spPr>
          <a:xfrm>
            <a:off x="10959906" y="1057275"/>
            <a:ext cx="1232552" cy="3276600"/>
          </a:xfrm>
          <a:custGeom>
            <a:avLst/>
            <a:gdLst>
              <a:gd name="connsiteX0" fmla="*/ 1171575 w 1176337"/>
              <a:gd name="connsiteY0" fmla="*/ 0 h 3267075"/>
              <a:gd name="connsiteX1" fmla="*/ 0 w 1176337"/>
              <a:gd name="connsiteY1" fmla="*/ 2762250 h 3267075"/>
              <a:gd name="connsiteX2" fmla="*/ 1176337 w 1176337"/>
              <a:gd name="connsiteY2" fmla="*/ 3267075 h 3267075"/>
              <a:gd name="connsiteX3" fmla="*/ 1171575 w 1176337"/>
              <a:gd name="connsiteY3" fmla="*/ 0 h 3267075"/>
              <a:gd name="connsiteX0" fmla="*/ 1176337 w 1176795"/>
              <a:gd name="connsiteY0" fmla="*/ 0 h 3276600"/>
              <a:gd name="connsiteX1" fmla="*/ 0 w 1176795"/>
              <a:gd name="connsiteY1" fmla="*/ 2771775 h 3276600"/>
              <a:gd name="connsiteX2" fmla="*/ 1176337 w 1176795"/>
              <a:gd name="connsiteY2" fmla="*/ 3276600 h 3276600"/>
              <a:gd name="connsiteX3" fmla="*/ 1176337 w 1176795"/>
              <a:gd name="connsiteY3" fmla="*/ 0 h 3276600"/>
              <a:gd name="connsiteX0" fmla="*/ 1209791 w 1210249"/>
              <a:gd name="connsiteY0" fmla="*/ 0 h 3276600"/>
              <a:gd name="connsiteX1" fmla="*/ 0 w 1210249"/>
              <a:gd name="connsiteY1" fmla="*/ 2771775 h 3276600"/>
              <a:gd name="connsiteX2" fmla="*/ 1209791 w 1210249"/>
              <a:gd name="connsiteY2" fmla="*/ 3276600 h 3276600"/>
              <a:gd name="connsiteX3" fmla="*/ 1209791 w 1210249"/>
              <a:gd name="connsiteY3" fmla="*/ 0 h 3276600"/>
              <a:gd name="connsiteX0" fmla="*/ 1232094 w 1232552"/>
              <a:gd name="connsiteY0" fmla="*/ 0 h 3276600"/>
              <a:gd name="connsiteX1" fmla="*/ 0 w 1232552"/>
              <a:gd name="connsiteY1" fmla="*/ 2749472 h 3276600"/>
              <a:gd name="connsiteX2" fmla="*/ 1232094 w 1232552"/>
              <a:gd name="connsiteY2" fmla="*/ 3276600 h 3276600"/>
              <a:gd name="connsiteX3" fmla="*/ 1232094 w 1232552"/>
              <a:gd name="connsiteY3" fmla="*/ 0 h 3276600"/>
            </a:gdLst>
            <a:ahLst/>
            <a:cxnLst>
              <a:cxn ang="0">
                <a:pos x="connsiteX0" y="connsiteY0"/>
              </a:cxn>
              <a:cxn ang="0">
                <a:pos x="connsiteX1" y="connsiteY1"/>
              </a:cxn>
              <a:cxn ang="0">
                <a:pos x="connsiteX2" y="connsiteY2"/>
              </a:cxn>
              <a:cxn ang="0">
                <a:pos x="connsiteX3" y="connsiteY3"/>
              </a:cxn>
            </a:cxnLst>
            <a:rect l="l" t="t" r="r" b="b"/>
            <a:pathLst>
              <a:path w="1232552" h="3276600">
                <a:moveTo>
                  <a:pt x="1232094" y="0"/>
                </a:moveTo>
                <a:lnTo>
                  <a:pt x="0" y="2749472"/>
                </a:lnTo>
                <a:lnTo>
                  <a:pt x="1232094" y="3276600"/>
                </a:lnTo>
                <a:cubicBezTo>
                  <a:pt x="1230507" y="2187575"/>
                  <a:pt x="1233681" y="1089025"/>
                  <a:pt x="1232094" y="0"/>
                </a:cubicBezTo>
                <a:close/>
              </a:path>
            </a:pathLst>
          </a:custGeom>
          <a:gradFill>
            <a:gsLst>
              <a:gs pos="21000">
                <a:schemeClr val="accent1"/>
              </a:gs>
              <a:gs pos="100000">
                <a:schemeClr val="accent2"/>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0" name="Freeform 19"/>
          <p:cNvSpPr/>
          <p:nvPr/>
        </p:nvSpPr>
        <p:spPr>
          <a:xfrm>
            <a:off x="6366969" y="2428875"/>
            <a:ext cx="3339005" cy="2271713"/>
          </a:xfrm>
          <a:custGeom>
            <a:avLst/>
            <a:gdLst>
              <a:gd name="connsiteX0" fmla="*/ 0 w 3324225"/>
              <a:gd name="connsiteY0" fmla="*/ 590550 h 2271713"/>
              <a:gd name="connsiteX1" fmla="*/ 1343025 w 3324225"/>
              <a:gd name="connsiteY1" fmla="*/ 2271713 h 2271713"/>
              <a:gd name="connsiteX2" fmla="*/ 3324225 w 3324225"/>
              <a:gd name="connsiteY2" fmla="*/ 0 h 2271713"/>
              <a:gd name="connsiteX3" fmla="*/ 0 w 3324225"/>
              <a:gd name="connsiteY3" fmla="*/ 590550 h 2271713"/>
              <a:gd name="connsiteX0" fmla="*/ 0 w 3333750"/>
              <a:gd name="connsiteY0" fmla="*/ 585787 h 2271713"/>
              <a:gd name="connsiteX1" fmla="*/ 1352550 w 3333750"/>
              <a:gd name="connsiteY1" fmla="*/ 2271713 h 2271713"/>
              <a:gd name="connsiteX2" fmla="*/ 3333750 w 3333750"/>
              <a:gd name="connsiteY2" fmla="*/ 0 h 2271713"/>
              <a:gd name="connsiteX3" fmla="*/ 0 w 3333750"/>
              <a:gd name="connsiteY3" fmla="*/ 585787 h 2271713"/>
              <a:gd name="connsiteX0" fmla="*/ 0 w 3333750"/>
              <a:gd name="connsiteY0" fmla="*/ 591043 h 2271713"/>
              <a:gd name="connsiteX1" fmla="*/ 1352550 w 3333750"/>
              <a:gd name="connsiteY1" fmla="*/ 2271713 h 2271713"/>
              <a:gd name="connsiteX2" fmla="*/ 3333750 w 3333750"/>
              <a:gd name="connsiteY2" fmla="*/ 0 h 2271713"/>
              <a:gd name="connsiteX3" fmla="*/ 0 w 3333750"/>
              <a:gd name="connsiteY3" fmla="*/ 591043 h 2271713"/>
              <a:gd name="connsiteX0" fmla="*/ 0 w 3339005"/>
              <a:gd name="connsiteY0" fmla="*/ 591043 h 2271713"/>
              <a:gd name="connsiteX1" fmla="*/ 1357805 w 3339005"/>
              <a:gd name="connsiteY1" fmla="*/ 2271713 h 2271713"/>
              <a:gd name="connsiteX2" fmla="*/ 3339005 w 3339005"/>
              <a:gd name="connsiteY2" fmla="*/ 0 h 2271713"/>
              <a:gd name="connsiteX3" fmla="*/ 0 w 3339005"/>
              <a:gd name="connsiteY3" fmla="*/ 591043 h 2271713"/>
            </a:gdLst>
            <a:ahLst/>
            <a:cxnLst>
              <a:cxn ang="0">
                <a:pos x="connsiteX0" y="connsiteY0"/>
              </a:cxn>
              <a:cxn ang="0">
                <a:pos x="connsiteX1" y="connsiteY1"/>
              </a:cxn>
              <a:cxn ang="0">
                <a:pos x="connsiteX2" y="connsiteY2"/>
              </a:cxn>
              <a:cxn ang="0">
                <a:pos x="connsiteX3" y="connsiteY3"/>
              </a:cxn>
            </a:cxnLst>
            <a:rect l="l" t="t" r="r" b="b"/>
            <a:pathLst>
              <a:path w="3339005" h="2271713">
                <a:moveTo>
                  <a:pt x="0" y="591043"/>
                </a:moveTo>
                <a:lnTo>
                  <a:pt x="1357805" y="2271713"/>
                </a:lnTo>
                <a:lnTo>
                  <a:pt x="3339005" y="0"/>
                </a:lnTo>
                <a:lnTo>
                  <a:pt x="0" y="591043"/>
                </a:lnTo>
                <a:close/>
              </a:path>
            </a:pathLst>
          </a:custGeom>
          <a:gradFill>
            <a:gsLst>
              <a:gs pos="0">
                <a:schemeClr val="accent1"/>
              </a:gs>
              <a:gs pos="87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1" name="Freeform 20"/>
          <p:cNvSpPr/>
          <p:nvPr/>
        </p:nvSpPr>
        <p:spPr>
          <a:xfrm>
            <a:off x="1025774" y="1761707"/>
            <a:ext cx="2098477" cy="1910094"/>
          </a:xfrm>
          <a:custGeom>
            <a:avLst/>
            <a:gdLst>
              <a:gd name="connsiteX0" fmla="*/ 2086304 w 2086304"/>
              <a:gd name="connsiteY0" fmla="*/ 0 h 1886607"/>
              <a:gd name="connsiteX1" fmla="*/ 0 w 2086304"/>
              <a:gd name="connsiteY1" fmla="*/ 15765 h 1886607"/>
              <a:gd name="connsiteX2" fmla="*/ 362607 w 2086304"/>
              <a:gd name="connsiteY2" fmla="*/ 1886607 h 1886607"/>
              <a:gd name="connsiteX3" fmla="*/ 2086304 w 2086304"/>
              <a:gd name="connsiteY3" fmla="*/ 0 h 1886607"/>
              <a:gd name="connsiteX0" fmla="*/ 2101053 w 2101053"/>
              <a:gd name="connsiteY0" fmla="*/ 0 h 1886607"/>
              <a:gd name="connsiteX1" fmla="*/ 0 w 2101053"/>
              <a:gd name="connsiteY1" fmla="*/ 1207 h 1886607"/>
              <a:gd name="connsiteX2" fmla="*/ 377356 w 2101053"/>
              <a:gd name="connsiteY2" fmla="*/ 1886607 h 1886607"/>
              <a:gd name="connsiteX3" fmla="*/ 2101053 w 2101053"/>
              <a:gd name="connsiteY3" fmla="*/ 0 h 1886607"/>
              <a:gd name="connsiteX0" fmla="*/ 2098477 w 2098477"/>
              <a:gd name="connsiteY0" fmla="*/ 8963 h 1885400"/>
              <a:gd name="connsiteX1" fmla="*/ 0 w 2098477"/>
              <a:gd name="connsiteY1" fmla="*/ 0 h 1885400"/>
              <a:gd name="connsiteX2" fmla="*/ 377356 w 2098477"/>
              <a:gd name="connsiteY2" fmla="*/ 1885400 h 1885400"/>
              <a:gd name="connsiteX3" fmla="*/ 2098477 w 2098477"/>
              <a:gd name="connsiteY3" fmla="*/ 8963 h 1885400"/>
            </a:gdLst>
            <a:ahLst/>
            <a:cxnLst>
              <a:cxn ang="0">
                <a:pos x="connsiteX0" y="connsiteY0"/>
              </a:cxn>
              <a:cxn ang="0">
                <a:pos x="connsiteX1" y="connsiteY1"/>
              </a:cxn>
              <a:cxn ang="0">
                <a:pos x="connsiteX2" y="connsiteY2"/>
              </a:cxn>
              <a:cxn ang="0">
                <a:pos x="connsiteX3" y="connsiteY3"/>
              </a:cxn>
            </a:cxnLst>
            <a:rect l="l" t="t" r="r" b="b"/>
            <a:pathLst>
              <a:path w="2098477" h="1885400">
                <a:moveTo>
                  <a:pt x="2098477" y="8963"/>
                </a:moveTo>
                <a:lnTo>
                  <a:pt x="0" y="0"/>
                </a:lnTo>
                <a:lnTo>
                  <a:pt x="377356" y="1885400"/>
                </a:lnTo>
                <a:lnTo>
                  <a:pt x="2098477" y="8963"/>
                </a:lnTo>
                <a:close/>
              </a:path>
            </a:pathLst>
          </a:custGeom>
          <a:gradFill>
            <a:gsLst>
              <a:gs pos="8000">
                <a:schemeClr val="accent2"/>
              </a:gs>
              <a:gs pos="90000">
                <a:schemeClr val="accent1"/>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2" name="Freeform 21"/>
          <p:cNvSpPr/>
          <p:nvPr/>
        </p:nvSpPr>
        <p:spPr>
          <a:xfrm>
            <a:off x="3532" y="4857972"/>
            <a:ext cx="4090198" cy="2007612"/>
          </a:xfrm>
          <a:custGeom>
            <a:avLst/>
            <a:gdLst>
              <a:gd name="connsiteX0" fmla="*/ 3576398 w 4077729"/>
              <a:gd name="connsiteY0" fmla="*/ 0 h 1994733"/>
              <a:gd name="connsiteX1" fmla="*/ 4077729 w 4077729"/>
              <a:gd name="connsiteY1" fmla="*/ 1101516 h 1994733"/>
              <a:gd name="connsiteX2" fmla="*/ 0 w 4077729"/>
              <a:gd name="connsiteY2" fmla="*/ 1994733 h 1994733"/>
              <a:gd name="connsiteX3" fmla="*/ 3576398 w 4077729"/>
              <a:gd name="connsiteY3" fmla="*/ 0 h 1994733"/>
              <a:gd name="connsiteX0" fmla="*/ 3576398 w 4086042"/>
              <a:gd name="connsiteY0" fmla="*/ 0 h 1994733"/>
              <a:gd name="connsiteX1" fmla="*/ 4086042 w 4086042"/>
              <a:gd name="connsiteY1" fmla="*/ 1093204 h 1994733"/>
              <a:gd name="connsiteX2" fmla="*/ 0 w 4086042"/>
              <a:gd name="connsiteY2" fmla="*/ 1994733 h 1994733"/>
              <a:gd name="connsiteX3" fmla="*/ 3576398 w 4086042"/>
              <a:gd name="connsiteY3" fmla="*/ 0 h 1994733"/>
              <a:gd name="connsiteX0" fmla="*/ 3576398 w 4090198"/>
              <a:gd name="connsiteY0" fmla="*/ 0 h 1994733"/>
              <a:gd name="connsiteX1" fmla="*/ 4090198 w 4090198"/>
              <a:gd name="connsiteY1" fmla="*/ 1084892 h 1994733"/>
              <a:gd name="connsiteX2" fmla="*/ 0 w 4090198"/>
              <a:gd name="connsiteY2" fmla="*/ 1994733 h 1994733"/>
              <a:gd name="connsiteX3" fmla="*/ 3576398 w 4090198"/>
              <a:gd name="connsiteY3" fmla="*/ 0 h 1994733"/>
              <a:gd name="connsiteX0" fmla="*/ 3576398 w 4090198"/>
              <a:gd name="connsiteY0" fmla="*/ 0 h 2007612"/>
              <a:gd name="connsiteX1" fmla="*/ 4090198 w 4090198"/>
              <a:gd name="connsiteY1" fmla="*/ 1084892 h 2007612"/>
              <a:gd name="connsiteX2" fmla="*/ 0 w 4090198"/>
              <a:gd name="connsiteY2" fmla="*/ 2007612 h 2007612"/>
              <a:gd name="connsiteX3" fmla="*/ 3576398 w 4090198"/>
              <a:gd name="connsiteY3" fmla="*/ 0 h 2007612"/>
            </a:gdLst>
            <a:ahLst/>
            <a:cxnLst>
              <a:cxn ang="0">
                <a:pos x="connsiteX0" y="connsiteY0"/>
              </a:cxn>
              <a:cxn ang="0">
                <a:pos x="connsiteX1" y="connsiteY1"/>
              </a:cxn>
              <a:cxn ang="0">
                <a:pos x="connsiteX2" y="connsiteY2"/>
              </a:cxn>
              <a:cxn ang="0">
                <a:pos x="connsiteX3" y="connsiteY3"/>
              </a:cxn>
            </a:cxnLst>
            <a:rect l="l" t="t" r="r" b="b"/>
            <a:pathLst>
              <a:path w="4090198" h="2007612">
                <a:moveTo>
                  <a:pt x="3576398" y="0"/>
                </a:moveTo>
                <a:lnTo>
                  <a:pt x="4090198" y="1084892"/>
                </a:lnTo>
                <a:lnTo>
                  <a:pt x="0" y="2007612"/>
                </a:lnTo>
                <a:lnTo>
                  <a:pt x="3576398" y="0"/>
                </a:lnTo>
                <a:close/>
              </a:path>
            </a:pathLst>
          </a:custGeom>
          <a:gradFill>
            <a:gsLst>
              <a:gs pos="15000">
                <a:schemeClr val="accent1"/>
              </a:gs>
              <a:gs pos="100000">
                <a:schemeClr val="accent2"/>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3" name="Freeform 22"/>
          <p:cNvSpPr/>
          <p:nvPr/>
        </p:nvSpPr>
        <p:spPr>
          <a:xfrm>
            <a:off x="-6301" y="5938309"/>
            <a:ext cx="4092304" cy="924304"/>
          </a:xfrm>
          <a:custGeom>
            <a:avLst/>
            <a:gdLst>
              <a:gd name="connsiteX0" fmla="*/ 4074199 w 4074199"/>
              <a:gd name="connsiteY0" fmla="*/ 0 h 907339"/>
              <a:gd name="connsiteX1" fmla="*/ 3357507 w 4074199"/>
              <a:gd name="connsiteY1" fmla="*/ 907339 h 907339"/>
              <a:gd name="connsiteX2" fmla="*/ 0 w 4074199"/>
              <a:gd name="connsiteY2" fmla="*/ 907339 h 907339"/>
              <a:gd name="connsiteX3" fmla="*/ 4074199 w 4074199"/>
              <a:gd name="connsiteY3" fmla="*/ 0 h 907339"/>
              <a:gd name="connsiteX0" fmla="*/ 4084791 w 4084791"/>
              <a:gd name="connsiteY0" fmla="*/ 0 h 907339"/>
              <a:gd name="connsiteX1" fmla="*/ 3368099 w 4084791"/>
              <a:gd name="connsiteY1" fmla="*/ 907339 h 907339"/>
              <a:gd name="connsiteX2" fmla="*/ 0 w 4084791"/>
              <a:gd name="connsiteY2" fmla="*/ 907339 h 907339"/>
              <a:gd name="connsiteX3" fmla="*/ 4084791 w 4084791"/>
              <a:gd name="connsiteY3" fmla="*/ 0 h 907339"/>
              <a:gd name="connsiteX0" fmla="*/ 4100031 w 4100031"/>
              <a:gd name="connsiteY0" fmla="*/ 0 h 907339"/>
              <a:gd name="connsiteX1" fmla="*/ 3368099 w 4100031"/>
              <a:gd name="connsiteY1" fmla="*/ 907339 h 907339"/>
              <a:gd name="connsiteX2" fmla="*/ 0 w 4100031"/>
              <a:gd name="connsiteY2" fmla="*/ 907339 h 907339"/>
              <a:gd name="connsiteX3" fmla="*/ 4100031 w 4100031"/>
              <a:gd name="connsiteY3" fmla="*/ 0 h 907339"/>
              <a:gd name="connsiteX0" fmla="*/ 4102607 w 4102607"/>
              <a:gd name="connsiteY0" fmla="*/ 0 h 907339"/>
              <a:gd name="connsiteX1" fmla="*/ 3370675 w 4102607"/>
              <a:gd name="connsiteY1" fmla="*/ 907339 h 907339"/>
              <a:gd name="connsiteX2" fmla="*/ 0 w 4102607"/>
              <a:gd name="connsiteY2" fmla="*/ 857464 h 907339"/>
              <a:gd name="connsiteX3" fmla="*/ 4102607 w 4102607"/>
              <a:gd name="connsiteY3" fmla="*/ 0 h 907339"/>
              <a:gd name="connsiteX0" fmla="*/ 4097455 w 4097455"/>
              <a:gd name="connsiteY0" fmla="*/ 0 h 907339"/>
              <a:gd name="connsiteX1" fmla="*/ 3365523 w 4097455"/>
              <a:gd name="connsiteY1" fmla="*/ 907339 h 907339"/>
              <a:gd name="connsiteX2" fmla="*/ 0 w 4097455"/>
              <a:gd name="connsiteY2" fmla="*/ 859958 h 907339"/>
              <a:gd name="connsiteX3" fmla="*/ 4097455 w 4097455"/>
              <a:gd name="connsiteY3" fmla="*/ 0 h 907339"/>
              <a:gd name="connsiteX0" fmla="*/ 4097455 w 4097455"/>
              <a:gd name="connsiteY0" fmla="*/ 0 h 862451"/>
              <a:gd name="connsiteX1" fmla="*/ 3411887 w 4097455"/>
              <a:gd name="connsiteY1" fmla="*/ 862451 h 862451"/>
              <a:gd name="connsiteX2" fmla="*/ 0 w 4097455"/>
              <a:gd name="connsiteY2" fmla="*/ 859958 h 862451"/>
              <a:gd name="connsiteX3" fmla="*/ 4097455 w 4097455"/>
              <a:gd name="connsiteY3" fmla="*/ 0 h 862451"/>
              <a:gd name="connsiteX0" fmla="*/ 4089728 w 4089728"/>
              <a:gd name="connsiteY0" fmla="*/ 0 h 892377"/>
              <a:gd name="connsiteX1" fmla="*/ 3411887 w 4089728"/>
              <a:gd name="connsiteY1" fmla="*/ 892377 h 892377"/>
              <a:gd name="connsiteX2" fmla="*/ 0 w 4089728"/>
              <a:gd name="connsiteY2" fmla="*/ 889884 h 892377"/>
              <a:gd name="connsiteX3" fmla="*/ 4089728 w 4089728"/>
              <a:gd name="connsiteY3" fmla="*/ 0 h 892377"/>
              <a:gd name="connsiteX0" fmla="*/ 4089728 w 4089728"/>
              <a:gd name="connsiteY0" fmla="*/ 0 h 892377"/>
              <a:gd name="connsiteX1" fmla="*/ 3424766 w 4089728"/>
              <a:gd name="connsiteY1" fmla="*/ 892377 h 892377"/>
              <a:gd name="connsiteX2" fmla="*/ 0 w 4089728"/>
              <a:gd name="connsiteY2" fmla="*/ 889884 h 892377"/>
              <a:gd name="connsiteX3" fmla="*/ 4089728 w 4089728"/>
              <a:gd name="connsiteY3" fmla="*/ 0 h 892377"/>
              <a:gd name="connsiteX0" fmla="*/ 4089728 w 4089728"/>
              <a:gd name="connsiteY0" fmla="*/ 0 h 889884"/>
              <a:gd name="connsiteX1" fmla="*/ 3360372 w 4089728"/>
              <a:gd name="connsiteY1" fmla="*/ 889884 h 889884"/>
              <a:gd name="connsiteX2" fmla="*/ 0 w 4089728"/>
              <a:gd name="connsiteY2" fmla="*/ 889884 h 889884"/>
              <a:gd name="connsiteX3" fmla="*/ 4089728 w 4089728"/>
              <a:gd name="connsiteY3" fmla="*/ 0 h 889884"/>
              <a:gd name="connsiteX0" fmla="*/ 4079425 w 4079425"/>
              <a:gd name="connsiteY0" fmla="*/ 0 h 889884"/>
              <a:gd name="connsiteX1" fmla="*/ 3350069 w 4079425"/>
              <a:gd name="connsiteY1" fmla="*/ 889884 h 889884"/>
              <a:gd name="connsiteX2" fmla="*/ 0 w 4079425"/>
              <a:gd name="connsiteY2" fmla="*/ 882403 h 889884"/>
              <a:gd name="connsiteX3" fmla="*/ 4079425 w 4079425"/>
              <a:gd name="connsiteY3" fmla="*/ 0 h 889884"/>
              <a:gd name="connsiteX0" fmla="*/ 4082000 w 4082000"/>
              <a:gd name="connsiteY0" fmla="*/ 0 h 889884"/>
              <a:gd name="connsiteX1" fmla="*/ 3352644 w 4082000"/>
              <a:gd name="connsiteY1" fmla="*/ 889884 h 889884"/>
              <a:gd name="connsiteX2" fmla="*/ 0 w 4082000"/>
              <a:gd name="connsiteY2" fmla="*/ 882403 h 889884"/>
              <a:gd name="connsiteX3" fmla="*/ 4082000 w 4082000"/>
              <a:gd name="connsiteY3" fmla="*/ 0 h 889884"/>
              <a:gd name="connsiteX0" fmla="*/ 4087152 w 4087152"/>
              <a:gd name="connsiteY0" fmla="*/ 0 h 1007091"/>
              <a:gd name="connsiteX1" fmla="*/ 3357796 w 4087152"/>
              <a:gd name="connsiteY1" fmla="*/ 889884 h 1007091"/>
              <a:gd name="connsiteX2" fmla="*/ 0 w 4087152"/>
              <a:gd name="connsiteY2" fmla="*/ 1007091 h 1007091"/>
              <a:gd name="connsiteX3" fmla="*/ 4087152 w 4087152"/>
              <a:gd name="connsiteY3" fmla="*/ 0 h 1007091"/>
              <a:gd name="connsiteX0" fmla="*/ 4092304 w 4092304"/>
              <a:gd name="connsiteY0" fmla="*/ 0 h 894872"/>
              <a:gd name="connsiteX1" fmla="*/ 3362948 w 4092304"/>
              <a:gd name="connsiteY1" fmla="*/ 889884 h 894872"/>
              <a:gd name="connsiteX2" fmla="*/ 0 w 4092304"/>
              <a:gd name="connsiteY2" fmla="*/ 894872 h 894872"/>
              <a:gd name="connsiteX3" fmla="*/ 4092304 w 4092304"/>
              <a:gd name="connsiteY3" fmla="*/ 0 h 894872"/>
            </a:gdLst>
            <a:ahLst/>
            <a:cxnLst>
              <a:cxn ang="0">
                <a:pos x="connsiteX0" y="connsiteY0"/>
              </a:cxn>
              <a:cxn ang="0">
                <a:pos x="connsiteX1" y="connsiteY1"/>
              </a:cxn>
              <a:cxn ang="0">
                <a:pos x="connsiteX2" y="connsiteY2"/>
              </a:cxn>
              <a:cxn ang="0">
                <a:pos x="connsiteX3" y="connsiteY3"/>
              </a:cxn>
            </a:cxnLst>
            <a:rect l="l" t="t" r="r" b="b"/>
            <a:pathLst>
              <a:path w="4092304" h="894872">
                <a:moveTo>
                  <a:pt x="4092304" y="0"/>
                </a:moveTo>
                <a:lnTo>
                  <a:pt x="3362948" y="889884"/>
                </a:lnTo>
                <a:lnTo>
                  <a:pt x="0" y="894872"/>
                </a:lnTo>
                <a:lnTo>
                  <a:pt x="4092304" y="0"/>
                </a:lnTo>
                <a:close/>
              </a:path>
            </a:pathLst>
          </a:custGeom>
          <a:gradFill>
            <a:gsLst>
              <a:gs pos="21000">
                <a:schemeClr val="accent1"/>
              </a:gs>
              <a:gs pos="10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 name="Freeform 24"/>
          <p:cNvSpPr/>
          <p:nvPr/>
        </p:nvSpPr>
        <p:spPr>
          <a:xfrm>
            <a:off x="3317876" y="5936217"/>
            <a:ext cx="5416584" cy="930949"/>
          </a:xfrm>
          <a:custGeom>
            <a:avLst/>
            <a:gdLst>
              <a:gd name="connsiteX0" fmla="*/ 683287 w 5365819"/>
              <a:gd name="connsiteY0" fmla="*/ 0 h 914400"/>
              <a:gd name="connsiteX1" fmla="*/ 5365819 w 5365819"/>
              <a:gd name="connsiteY1" fmla="*/ 904351 h 914400"/>
              <a:gd name="connsiteX2" fmla="*/ 0 w 5365819"/>
              <a:gd name="connsiteY2" fmla="*/ 914400 h 914400"/>
              <a:gd name="connsiteX3" fmla="*/ 683287 w 5365819"/>
              <a:gd name="connsiteY3" fmla="*/ 0 h 914400"/>
              <a:gd name="connsiteX0" fmla="*/ 711531 w 5394063"/>
              <a:gd name="connsiteY0" fmla="*/ 0 h 917930"/>
              <a:gd name="connsiteX1" fmla="*/ 5394063 w 5394063"/>
              <a:gd name="connsiteY1" fmla="*/ 904351 h 917930"/>
              <a:gd name="connsiteX2" fmla="*/ 0 w 5394063"/>
              <a:gd name="connsiteY2" fmla="*/ 917930 h 917930"/>
              <a:gd name="connsiteX3" fmla="*/ 711531 w 5394063"/>
              <a:gd name="connsiteY3" fmla="*/ 0 h 917930"/>
              <a:gd name="connsiteX0" fmla="*/ 725653 w 5394063"/>
              <a:gd name="connsiteY0" fmla="*/ 0 h 910869"/>
              <a:gd name="connsiteX1" fmla="*/ 5394063 w 5394063"/>
              <a:gd name="connsiteY1" fmla="*/ 897290 h 910869"/>
              <a:gd name="connsiteX2" fmla="*/ 0 w 5394063"/>
              <a:gd name="connsiteY2" fmla="*/ 910869 h 910869"/>
              <a:gd name="connsiteX3" fmla="*/ 725653 w 5394063"/>
              <a:gd name="connsiteY3" fmla="*/ 0 h 910869"/>
              <a:gd name="connsiteX0" fmla="*/ 725653 w 5376410"/>
              <a:gd name="connsiteY0" fmla="*/ 0 h 910869"/>
              <a:gd name="connsiteX1" fmla="*/ 5376410 w 5376410"/>
              <a:gd name="connsiteY1" fmla="*/ 907881 h 910869"/>
              <a:gd name="connsiteX2" fmla="*/ 0 w 5376410"/>
              <a:gd name="connsiteY2" fmla="*/ 910869 h 910869"/>
              <a:gd name="connsiteX3" fmla="*/ 725653 w 5376410"/>
              <a:gd name="connsiteY3" fmla="*/ 0 h 910869"/>
              <a:gd name="connsiteX0" fmla="*/ 783842 w 5376410"/>
              <a:gd name="connsiteY0" fmla="*/ 0 h 765396"/>
              <a:gd name="connsiteX1" fmla="*/ 5376410 w 5376410"/>
              <a:gd name="connsiteY1" fmla="*/ 762408 h 765396"/>
              <a:gd name="connsiteX2" fmla="*/ 0 w 5376410"/>
              <a:gd name="connsiteY2" fmla="*/ 765396 h 765396"/>
              <a:gd name="connsiteX3" fmla="*/ 783842 w 5376410"/>
              <a:gd name="connsiteY3" fmla="*/ 0 h 765396"/>
              <a:gd name="connsiteX0" fmla="*/ 729810 w 5376410"/>
              <a:gd name="connsiteY0" fmla="*/ 0 h 910869"/>
              <a:gd name="connsiteX1" fmla="*/ 5376410 w 5376410"/>
              <a:gd name="connsiteY1" fmla="*/ 907881 h 910869"/>
              <a:gd name="connsiteX2" fmla="*/ 0 w 5376410"/>
              <a:gd name="connsiteY2" fmla="*/ 910869 h 910869"/>
              <a:gd name="connsiteX3" fmla="*/ 729810 w 5376410"/>
              <a:gd name="connsiteY3" fmla="*/ 0 h 910869"/>
              <a:gd name="connsiteX0" fmla="*/ 714570 w 5376410"/>
              <a:gd name="connsiteY0" fmla="*/ 0 h 918489"/>
              <a:gd name="connsiteX1" fmla="*/ 5376410 w 5376410"/>
              <a:gd name="connsiteY1" fmla="*/ 915501 h 918489"/>
              <a:gd name="connsiteX2" fmla="*/ 0 w 5376410"/>
              <a:gd name="connsiteY2" fmla="*/ 918489 h 918489"/>
              <a:gd name="connsiteX3" fmla="*/ 714570 w 5376410"/>
              <a:gd name="connsiteY3" fmla="*/ 0 h 918489"/>
              <a:gd name="connsiteX0" fmla="*/ 809820 w 5376410"/>
              <a:gd name="connsiteY0" fmla="*/ 0 h 758469"/>
              <a:gd name="connsiteX1" fmla="*/ 5376410 w 5376410"/>
              <a:gd name="connsiteY1" fmla="*/ 755481 h 758469"/>
              <a:gd name="connsiteX2" fmla="*/ 0 w 5376410"/>
              <a:gd name="connsiteY2" fmla="*/ 758469 h 758469"/>
              <a:gd name="connsiteX3" fmla="*/ 809820 w 5376410"/>
              <a:gd name="connsiteY3" fmla="*/ 0 h 758469"/>
              <a:gd name="connsiteX0" fmla="*/ 710760 w 5376410"/>
              <a:gd name="connsiteY0" fmla="*/ 0 h 918489"/>
              <a:gd name="connsiteX1" fmla="*/ 5376410 w 5376410"/>
              <a:gd name="connsiteY1" fmla="*/ 915501 h 918489"/>
              <a:gd name="connsiteX2" fmla="*/ 0 w 5376410"/>
              <a:gd name="connsiteY2" fmla="*/ 918489 h 918489"/>
              <a:gd name="connsiteX3" fmla="*/ 710760 w 5376410"/>
              <a:gd name="connsiteY3" fmla="*/ 0 h 918489"/>
              <a:gd name="connsiteX0" fmla="*/ 722190 w 5376410"/>
              <a:gd name="connsiteY0" fmla="*/ 0 h 914679"/>
              <a:gd name="connsiteX1" fmla="*/ 5376410 w 5376410"/>
              <a:gd name="connsiteY1" fmla="*/ 911691 h 914679"/>
              <a:gd name="connsiteX2" fmla="*/ 0 w 5376410"/>
              <a:gd name="connsiteY2" fmla="*/ 914679 h 914679"/>
              <a:gd name="connsiteX3" fmla="*/ 722190 w 5376410"/>
              <a:gd name="connsiteY3" fmla="*/ 0 h 914679"/>
              <a:gd name="connsiteX0" fmla="*/ 735069 w 5389289"/>
              <a:gd name="connsiteY0" fmla="*/ 0 h 912104"/>
              <a:gd name="connsiteX1" fmla="*/ 5389289 w 5389289"/>
              <a:gd name="connsiteY1" fmla="*/ 911691 h 912104"/>
              <a:gd name="connsiteX2" fmla="*/ 0 w 5389289"/>
              <a:gd name="connsiteY2" fmla="*/ 912104 h 912104"/>
              <a:gd name="connsiteX3" fmla="*/ 735069 w 5389289"/>
              <a:gd name="connsiteY3" fmla="*/ 0 h 912104"/>
              <a:gd name="connsiteX0" fmla="*/ 735069 w 5389289"/>
              <a:gd name="connsiteY0" fmla="*/ 0 h 925339"/>
              <a:gd name="connsiteX1" fmla="*/ 5389289 w 5389289"/>
              <a:gd name="connsiteY1" fmla="*/ 925339 h 925339"/>
              <a:gd name="connsiteX2" fmla="*/ 0 w 5389289"/>
              <a:gd name="connsiteY2" fmla="*/ 912104 h 925339"/>
              <a:gd name="connsiteX3" fmla="*/ 735069 w 5389289"/>
              <a:gd name="connsiteY3" fmla="*/ 0 h 925339"/>
              <a:gd name="connsiteX0" fmla="*/ 762364 w 5416584"/>
              <a:gd name="connsiteY0" fmla="*/ 0 h 939400"/>
              <a:gd name="connsiteX1" fmla="*/ 5416584 w 5416584"/>
              <a:gd name="connsiteY1" fmla="*/ 925339 h 939400"/>
              <a:gd name="connsiteX2" fmla="*/ 0 w 5416584"/>
              <a:gd name="connsiteY2" fmla="*/ 939400 h 939400"/>
              <a:gd name="connsiteX3" fmla="*/ 762364 w 5416584"/>
              <a:gd name="connsiteY3" fmla="*/ 0 h 939400"/>
              <a:gd name="connsiteX0" fmla="*/ 762364 w 5416584"/>
              <a:gd name="connsiteY0" fmla="*/ 0 h 945010"/>
              <a:gd name="connsiteX1" fmla="*/ 5416584 w 5416584"/>
              <a:gd name="connsiteY1" fmla="*/ 930949 h 945010"/>
              <a:gd name="connsiteX2" fmla="*/ 0 w 5416584"/>
              <a:gd name="connsiteY2" fmla="*/ 945010 h 945010"/>
              <a:gd name="connsiteX3" fmla="*/ 762364 w 5416584"/>
              <a:gd name="connsiteY3" fmla="*/ 0 h 945010"/>
              <a:gd name="connsiteX0" fmla="*/ 762364 w 5416584"/>
              <a:gd name="connsiteY0" fmla="*/ 0 h 930949"/>
              <a:gd name="connsiteX1" fmla="*/ 5416584 w 5416584"/>
              <a:gd name="connsiteY1" fmla="*/ 930949 h 930949"/>
              <a:gd name="connsiteX2" fmla="*/ 0 w 5416584"/>
              <a:gd name="connsiteY2" fmla="*/ 921156 h 930949"/>
              <a:gd name="connsiteX3" fmla="*/ 762364 w 5416584"/>
              <a:gd name="connsiteY3" fmla="*/ 0 h 930949"/>
            </a:gdLst>
            <a:ahLst/>
            <a:cxnLst>
              <a:cxn ang="0">
                <a:pos x="connsiteX0" y="connsiteY0"/>
              </a:cxn>
              <a:cxn ang="0">
                <a:pos x="connsiteX1" y="connsiteY1"/>
              </a:cxn>
              <a:cxn ang="0">
                <a:pos x="connsiteX2" y="connsiteY2"/>
              </a:cxn>
              <a:cxn ang="0">
                <a:pos x="connsiteX3" y="connsiteY3"/>
              </a:cxn>
            </a:cxnLst>
            <a:rect l="l" t="t" r="r" b="b"/>
            <a:pathLst>
              <a:path w="5416584" h="930949">
                <a:moveTo>
                  <a:pt x="762364" y="0"/>
                </a:moveTo>
                <a:lnTo>
                  <a:pt x="5416584" y="930949"/>
                </a:lnTo>
                <a:lnTo>
                  <a:pt x="0" y="921156"/>
                </a:lnTo>
                <a:lnTo>
                  <a:pt x="762364" y="0"/>
                </a:lnTo>
                <a:close/>
              </a:path>
            </a:pathLst>
          </a:custGeom>
          <a:gradFill>
            <a:gsLst>
              <a:gs pos="4000">
                <a:schemeClr val="accent1"/>
              </a:gs>
              <a:gs pos="100000">
                <a:schemeClr val="accent2"/>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6" name="Freeform 25"/>
          <p:cNvSpPr/>
          <p:nvPr/>
        </p:nvSpPr>
        <p:spPr>
          <a:xfrm>
            <a:off x="10990536" y="3785435"/>
            <a:ext cx="1203845" cy="3091509"/>
          </a:xfrm>
          <a:custGeom>
            <a:avLst/>
            <a:gdLst>
              <a:gd name="connsiteX0" fmla="*/ 0 w 1182718"/>
              <a:gd name="connsiteY0" fmla="*/ 0 h 3032701"/>
              <a:gd name="connsiteX1" fmla="*/ 497800 w 1182718"/>
              <a:gd name="connsiteY1" fmla="*/ 3032701 h 3032701"/>
              <a:gd name="connsiteX2" fmla="*/ 1182718 w 1182718"/>
              <a:gd name="connsiteY2" fmla="*/ 515453 h 3032701"/>
              <a:gd name="connsiteX3" fmla="*/ 0 w 1182718"/>
              <a:gd name="connsiteY3" fmla="*/ 0 h 3032701"/>
              <a:gd name="connsiteX0" fmla="*/ 0 w 1179187"/>
              <a:gd name="connsiteY0" fmla="*/ 0 h 3029170"/>
              <a:gd name="connsiteX1" fmla="*/ 494269 w 1179187"/>
              <a:gd name="connsiteY1" fmla="*/ 3029170 h 3029170"/>
              <a:gd name="connsiteX2" fmla="*/ 1179187 w 1179187"/>
              <a:gd name="connsiteY2" fmla="*/ 511922 h 3029170"/>
              <a:gd name="connsiteX3" fmla="*/ 0 w 1179187"/>
              <a:gd name="connsiteY3" fmla="*/ 0 h 3029170"/>
              <a:gd name="connsiteX0" fmla="*/ 0 w 1179187"/>
              <a:gd name="connsiteY0" fmla="*/ 0 h 3039761"/>
              <a:gd name="connsiteX1" fmla="*/ 483677 w 1179187"/>
              <a:gd name="connsiteY1" fmla="*/ 3039761 h 3039761"/>
              <a:gd name="connsiteX2" fmla="*/ 1179187 w 1179187"/>
              <a:gd name="connsiteY2" fmla="*/ 511922 h 3039761"/>
              <a:gd name="connsiteX3" fmla="*/ 0 w 1179187"/>
              <a:gd name="connsiteY3" fmla="*/ 0 h 3039761"/>
              <a:gd name="connsiteX0" fmla="*/ 0 w 1190407"/>
              <a:gd name="connsiteY0" fmla="*/ 0 h 3039761"/>
              <a:gd name="connsiteX1" fmla="*/ 494897 w 1190407"/>
              <a:gd name="connsiteY1" fmla="*/ 3039761 h 3039761"/>
              <a:gd name="connsiteX2" fmla="*/ 1190407 w 1190407"/>
              <a:gd name="connsiteY2" fmla="*/ 511922 h 3039761"/>
              <a:gd name="connsiteX3" fmla="*/ 0 w 1190407"/>
              <a:gd name="connsiteY3" fmla="*/ 0 h 3039761"/>
              <a:gd name="connsiteX0" fmla="*/ 0 w 1203107"/>
              <a:gd name="connsiteY0" fmla="*/ 0 h 3065161"/>
              <a:gd name="connsiteX1" fmla="*/ 507597 w 1203107"/>
              <a:gd name="connsiteY1" fmla="*/ 3065161 h 3065161"/>
              <a:gd name="connsiteX2" fmla="*/ 1203107 w 1203107"/>
              <a:gd name="connsiteY2" fmla="*/ 537322 h 3065161"/>
              <a:gd name="connsiteX3" fmla="*/ 0 w 1203107"/>
              <a:gd name="connsiteY3" fmla="*/ 0 h 3065161"/>
              <a:gd name="connsiteX0" fmla="*/ 0 w 1209457"/>
              <a:gd name="connsiteY0" fmla="*/ 0 h 3065161"/>
              <a:gd name="connsiteX1" fmla="*/ 507597 w 1209457"/>
              <a:gd name="connsiteY1" fmla="*/ 3065161 h 3065161"/>
              <a:gd name="connsiteX2" fmla="*/ 1209457 w 1209457"/>
              <a:gd name="connsiteY2" fmla="*/ 543672 h 3065161"/>
              <a:gd name="connsiteX3" fmla="*/ 0 w 1209457"/>
              <a:gd name="connsiteY3" fmla="*/ 0 h 3065161"/>
              <a:gd name="connsiteX0" fmla="*/ 0 w 1215807"/>
              <a:gd name="connsiteY0" fmla="*/ 0 h 3065161"/>
              <a:gd name="connsiteX1" fmla="*/ 507597 w 1215807"/>
              <a:gd name="connsiteY1" fmla="*/ 3065161 h 3065161"/>
              <a:gd name="connsiteX2" fmla="*/ 1215807 w 1215807"/>
              <a:gd name="connsiteY2" fmla="*/ 537322 h 3065161"/>
              <a:gd name="connsiteX3" fmla="*/ 0 w 1215807"/>
              <a:gd name="connsiteY3" fmla="*/ 0 h 3065161"/>
              <a:gd name="connsiteX0" fmla="*/ 0 w 1209457"/>
              <a:gd name="connsiteY0" fmla="*/ 0 h 3077861"/>
              <a:gd name="connsiteX1" fmla="*/ 501247 w 1209457"/>
              <a:gd name="connsiteY1" fmla="*/ 3077861 h 3077861"/>
              <a:gd name="connsiteX2" fmla="*/ 1209457 w 1209457"/>
              <a:gd name="connsiteY2" fmla="*/ 550022 h 3077861"/>
              <a:gd name="connsiteX3" fmla="*/ 0 w 1209457"/>
              <a:gd name="connsiteY3" fmla="*/ 0 h 3077861"/>
              <a:gd name="connsiteX0" fmla="*/ 0 w 1209457"/>
              <a:gd name="connsiteY0" fmla="*/ 0 h 3091509"/>
              <a:gd name="connsiteX1" fmla="*/ 501247 w 1209457"/>
              <a:gd name="connsiteY1" fmla="*/ 3091509 h 3091509"/>
              <a:gd name="connsiteX2" fmla="*/ 1209457 w 1209457"/>
              <a:gd name="connsiteY2" fmla="*/ 550022 h 3091509"/>
              <a:gd name="connsiteX3" fmla="*/ 0 w 1209457"/>
              <a:gd name="connsiteY3" fmla="*/ 0 h 3091509"/>
            </a:gdLst>
            <a:ahLst/>
            <a:cxnLst>
              <a:cxn ang="0">
                <a:pos x="connsiteX0" y="connsiteY0"/>
              </a:cxn>
              <a:cxn ang="0">
                <a:pos x="connsiteX1" y="connsiteY1"/>
              </a:cxn>
              <a:cxn ang="0">
                <a:pos x="connsiteX2" y="connsiteY2"/>
              </a:cxn>
              <a:cxn ang="0">
                <a:pos x="connsiteX3" y="connsiteY3"/>
              </a:cxn>
            </a:cxnLst>
            <a:rect l="l" t="t" r="r" b="b"/>
            <a:pathLst>
              <a:path w="1209457" h="3091509">
                <a:moveTo>
                  <a:pt x="0" y="0"/>
                </a:moveTo>
                <a:lnTo>
                  <a:pt x="501247" y="3091509"/>
                </a:lnTo>
                <a:lnTo>
                  <a:pt x="1209457" y="550022"/>
                </a:lnTo>
                <a:lnTo>
                  <a:pt x="0" y="0"/>
                </a:lnTo>
                <a:close/>
              </a:path>
            </a:pathLst>
          </a:custGeom>
          <a:gradFill>
            <a:gsLst>
              <a:gs pos="34000">
                <a:schemeClr val="accent2"/>
              </a:gs>
              <a:gs pos="100000">
                <a:schemeClr val="accent1"/>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7" name="Freeform 26"/>
          <p:cNvSpPr/>
          <p:nvPr/>
        </p:nvSpPr>
        <p:spPr>
          <a:xfrm>
            <a:off x="11488254" y="4321334"/>
            <a:ext cx="708319" cy="2552078"/>
          </a:xfrm>
          <a:custGeom>
            <a:avLst/>
            <a:gdLst>
              <a:gd name="connsiteX0" fmla="*/ 691978 w 697728"/>
              <a:gd name="connsiteY0" fmla="*/ 0 h 2520778"/>
              <a:gd name="connsiteX1" fmla="*/ 0 w 697728"/>
              <a:gd name="connsiteY1" fmla="*/ 2520778 h 2520778"/>
              <a:gd name="connsiteX2" fmla="*/ 695509 w 697728"/>
              <a:gd name="connsiteY2" fmla="*/ 2517248 h 2520778"/>
              <a:gd name="connsiteX3" fmla="*/ 691978 w 697728"/>
              <a:gd name="connsiteY3" fmla="*/ 0 h 2520778"/>
              <a:gd name="connsiteX0" fmla="*/ 691978 w 697728"/>
              <a:gd name="connsiteY0" fmla="*/ 0 h 2531370"/>
              <a:gd name="connsiteX1" fmla="*/ 0 w 697728"/>
              <a:gd name="connsiteY1" fmla="*/ 2531370 h 2531370"/>
              <a:gd name="connsiteX2" fmla="*/ 695509 w 697728"/>
              <a:gd name="connsiteY2" fmla="*/ 2517248 h 2531370"/>
              <a:gd name="connsiteX3" fmla="*/ 691978 w 697728"/>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9039 w 704789"/>
              <a:gd name="connsiteY0" fmla="*/ 0 h 2541962"/>
              <a:gd name="connsiteX1" fmla="*/ 0 w 704789"/>
              <a:gd name="connsiteY1" fmla="*/ 2541962 h 2541962"/>
              <a:gd name="connsiteX2" fmla="*/ 702570 w 704789"/>
              <a:gd name="connsiteY2" fmla="*/ 2538431 h 2541962"/>
              <a:gd name="connsiteX3" fmla="*/ 699039 w 704789"/>
              <a:gd name="connsiteY3" fmla="*/ 0 h 2541962"/>
              <a:gd name="connsiteX0" fmla="*/ 702569 w 708319"/>
              <a:gd name="connsiteY0" fmla="*/ 0 h 2538431"/>
              <a:gd name="connsiteX1" fmla="*/ 0 w 708319"/>
              <a:gd name="connsiteY1" fmla="*/ 2538431 h 2538431"/>
              <a:gd name="connsiteX2" fmla="*/ 706100 w 708319"/>
              <a:gd name="connsiteY2" fmla="*/ 2538431 h 2538431"/>
              <a:gd name="connsiteX3" fmla="*/ 702569 w 708319"/>
              <a:gd name="connsiteY3" fmla="*/ 0 h 2538431"/>
              <a:gd name="connsiteX0" fmla="*/ 667264 w 673014"/>
              <a:gd name="connsiteY0" fmla="*/ 0 h 2538431"/>
              <a:gd name="connsiteX1" fmla="*/ 0 w 673014"/>
              <a:gd name="connsiteY1" fmla="*/ 2252460 h 2538431"/>
              <a:gd name="connsiteX2" fmla="*/ 670795 w 673014"/>
              <a:gd name="connsiteY2" fmla="*/ 2538431 h 2538431"/>
              <a:gd name="connsiteX3" fmla="*/ 667264 w 673014"/>
              <a:gd name="connsiteY3" fmla="*/ 0 h 2538431"/>
              <a:gd name="connsiteX0" fmla="*/ 702569 w 708319"/>
              <a:gd name="connsiteY0" fmla="*/ 0 h 2541961"/>
              <a:gd name="connsiteX1" fmla="*/ 0 w 708319"/>
              <a:gd name="connsiteY1" fmla="*/ 2541961 h 2541961"/>
              <a:gd name="connsiteX2" fmla="*/ 706100 w 708319"/>
              <a:gd name="connsiteY2" fmla="*/ 2538431 h 2541961"/>
              <a:gd name="connsiteX3" fmla="*/ 702569 w 708319"/>
              <a:gd name="connsiteY3" fmla="*/ 0 h 2541961"/>
              <a:gd name="connsiteX0" fmla="*/ 702569 w 708319"/>
              <a:gd name="connsiteY0" fmla="*/ 0 h 2538431"/>
              <a:gd name="connsiteX1" fmla="*/ 0 w 708319"/>
              <a:gd name="connsiteY1" fmla="*/ 2534900 h 2538431"/>
              <a:gd name="connsiteX2" fmla="*/ 706100 w 708319"/>
              <a:gd name="connsiteY2" fmla="*/ 2538431 h 2538431"/>
              <a:gd name="connsiteX3" fmla="*/ 702569 w 708319"/>
              <a:gd name="connsiteY3" fmla="*/ 0 h 2538431"/>
              <a:gd name="connsiteX0" fmla="*/ 702569 w 708319"/>
              <a:gd name="connsiteY0" fmla="*/ 0 h 2548548"/>
              <a:gd name="connsiteX1" fmla="*/ 0 w 708319"/>
              <a:gd name="connsiteY1" fmla="*/ 2548548 h 2548548"/>
              <a:gd name="connsiteX2" fmla="*/ 706100 w 708319"/>
              <a:gd name="connsiteY2" fmla="*/ 2538431 h 2548548"/>
              <a:gd name="connsiteX3" fmla="*/ 702569 w 708319"/>
              <a:gd name="connsiteY3" fmla="*/ 0 h 2548548"/>
              <a:gd name="connsiteX0" fmla="*/ 702569 w 704906"/>
              <a:gd name="connsiteY0" fmla="*/ 0 h 2548548"/>
              <a:gd name="connsiteX1" fmla="*/ 0 w 704906"/>
              <a:gd name="connsiteY1" fmla="*/ 2548548 h 2548548"/>
              <a:gd name="connsiteX2" fmla="*/ 692452 w 704906"/>
              <a:gd name="connsiteY2" fmla="*/ 2538431 h 2548548"/>
              <a:gd name="connsiteX3" fmla="*/ 702569 w 704906"/>
              <a:gd name="connsiteY3" fmla="*/ 0 h 2548548"/>
              <a:gd name="connsiteX0" fmla="*/ 702569 w 708319"/>
              <a:gd name="connsiteY0" fmla="*/ 0 h 2565726"/>
              <a:gd name="connsiteX1" fmla="*/ 0 w 708319"/>
              <a:gd name="connsiteY1" fmla="*/ 2548548 h 2565726"/>
              <a:gd name="connsiteX2" fmla="*/ 706100 w 708319"/>
              <a:gd name="connsiteY2" fmla="*/ 2565726 h 2565726"/>
              <a:gd name="connsiteX3" fmla="*/ 702569 w 708319"/>
              <a:gd name="connsiteY3" fmla="*/ 0 h 2565726"/>
              <a:gd name="connsiteX0" fmla="*/ 702569 w 708319"/>
              <a:gd name="connsiteY0" fmla="*/ 0 h 2552078"/>
              <a:gd name="connsiteX1" fmla="*/ 0 w 708319"/>
              <a:gd name="connsiteY1" fmla="*/ 2548548 h 2552078"/>
              <a:gd name="connsiteX2" fmla="*/ 706100 w 708319"/>
              <a:gd name="connsiteY2" fmla="*/ 2552078 h 2552078"/>
              <a:gd name="connsiteX3" fmla="*/ 702569 w 708319"/>
              <a:gd name="connsiteY3" fmla="*/ 0 h 2552078"/>
            </a:gdLst>
            <a:ahLst/>
            <a:cxnLst>
              <a:cxn ang="0">
                <a:pos x="connsiteX0" y="connsiteY0"/>
              </a:cxn>
              <a:cxn ang="0">
                <a:pos x="connsiteX1" y="connsiteY1"/>
              </a:cxn>
              <a:cxn ang="0">
                <a:pos x="connsiteX2" y="connsiteY2"/>
              </a:cxn>
              <a:cxn ang="0">
                <a:pos x="connsiteX3" y="connsiteY3"/>
              </a:cxn>
            </a:cxnLst>
            <a:rect l="l" t="t" r="r" b="b"/>
            <a:pathLst>
              <a:path w="708319" h="2552078">
                <a:moveTo>
                  <a:pt x="702569" y="0"/>
                </a:moveTo>
                <a:lnTo>
                  <a:pt x="0" y="2548548"/>
                </a:lnTo>
                <a:lnTo>
                  <a:pt x="706100" y="2552078"/>
                </a:lnTo>
                <a:cubicBezTo>
                  <a:pt x="708454" y="1710642"/>
                  <a:pt x="710807" y="834375"/>
                  <a:pt x="702569" y="0"/>
                </a:cubicBezTo>
                <a:close/>
              </a:path>
            </a:pathLst>
          </a:custGeom>
          <a:gradFill>
            <a:gsLst>
              <a:gs pos="21000">
                <a:schemeClr val="accent2"/>
              </a:gs>
              <a:gs pos="100000">
                <a:schemeClr val="accent1"/>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0" name="Freeform 29"/>
          <p:cNvSpPr/>
          <p:nvPr/>
        </p:nvSpPr>
        <p:spPr>
          <a:xfrm>
            <a:off x="-2381" y="-1"/>
            <a:ext cx="3112998" cy="178606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 name="connsiteX0" fmla="*/ 0 w 3081965"/>
              <a:gd name="connsiteY0" fmla="*/ 0 h 1775900"/>
              <a:gd name="connsiteX1" fmla="*/ 1036790 w 3081965"/>
              <a:gd name="connsiteY1" fmla="*/ 1773715 h 1775900"/>
              <a:gd name="connsiteX2" fmla="*/ 3081965 w 3081965"/>
              <a:gd name="connsiteY2" fmla="*/ 1775900 h 1775900"/>
              <a:gd name="connsiteX3" fmla="*/ 0 w 3081965"/>
              <a:gd name="connsiteY3" fmla="*/ 0 h 1775900"/>
              <a:gd name="connsiteX0" fmla="*/ 0 w 3086728"/>
              <a:gd name="connsiteY0" fmla="*/ 0 h 1775900"/>
              <a:gd name="connsiteX1" fmla="*/ 1036790 w 3086728"/>
              <a:gd name="connsiteY1" fmla="*/ 1773715 h 1775900"/>
              <a:gd name="connsiteX2" fmla="*/ 3086728 w 3086728"/>
              <a:gd name="connsiteY2" fmla="*/ 1775900 h 1775900"/>
              <a:gd name="connsiteX3" fmla="*/ 0 w 3086728"/>
              <a:gd name="connsiteY3" fmla="*/ 0 h 1775900"/>
              <a:gd name="connsiteX0" fmla="*/ 0 w 3091491"/>
              <a:gd name="connsiteY0" fmla="*/ 0 h 1799713"/>
              <a:gd name="connsiteX1" fmla="*/ 1036790 w 3091491"/>
              <a:gd name="connsiteY1" fmla="*/ 1773715 h 1799713"/>
              <a:gd name="connsiteX2" fmla="*/ 3091491 w 3091491"/>
              <a:gd name="connsiteY2" fmla="*/ 1799713 h 1799713"/>
              <a:gd name="connsiteX3" fmla="*/ 0 w 3091491"/>
              <a:gd name="connsiteY3" fmla="*/ 0 h 1799713"/>
              <a:gd name="connsiteX0" fmla="*/ 0 w 3120066"/>
              <a:gd name="connsiteY0" fmla="*/ 0 h 1799713"/>
              <a:gd name="connsiteX1" fmla="*/ 1036790 w 3120066"/>
              <a:gd name="connsiteY1" fmla="*/ 1773715 h 1799713"/>
              <a:gd name="connsiteX2" fmla="*/ 3120066 w 3120066"/>
              <a:gd name="connsiteY2" fmla="*/ 1799713 h 1799713"/>
              <a:gd name="connsiteX3" fmla="*/ 0 w 3120066"/>
              <a:gd name="connsiteY3" fmla="*/ 0 h 1799713"/>
              <a:gd name="connsiteX0" fmla="*/ 0 w 3120066"/>
              <a:gd name="connsiteY0" fmla="*/ 0 h 1799713"/>
              <a:gd name="connsiteX1" fmla="*/ 1019730 w 3120066"/>
              <a:gd name="connsiteY1" fmla="*/ 1773715 h 1799713"/>
              <a:gd name="connsiteX2" fmla="*/ 3120066 w 3120066"/>
              <a:gd name="connsiteY2" fmla="*/ 1799713 h 1799713"/>
              <a:gd name="connsiteX3" fmla="*/ 0 w 3120066"/>
              <a:gd name="connsiteY3" fmla="*/ 0 h 1799713"/>
              <a:gd name="connsiteX0" fmla="*/ 0 w 3133714"/>
              <a:gd name="connsiteY0" fmla="*/ 0 h 1799713"/>
              <a:gd name="connsiteX1" fmla="*/ 1033378 w 3133714"/>
              <a:gd name="connsiteY1" fmla="*/ 1773715 h 1799713"/>
              <a:gd name="connsiteX2" fmla="*/ 3133714 w 3133714"/>
              <a:gd name="connsiteY2" fmla="*/ 1799713 h 1799713"/>
              <a:gd name="connsiteX3" fmla="*/ 0 w 3133714"/>
              <a:gd name="connsiteY3" fmla="*/ 0 h 1799713"/>
              <a:gd name="connsiteX0" fmla="*/ 0 w 3140538"/>
              <a:gd name="connsiteY0" fmla="*/ 0 h 1799713"/>
              <a:gd name="connsiteX1" fmla="*/ 1040202 w 3140538"/>
              <a:gd name="connsiteY1" fmla="*/ 1773715 h 1799713"/>
              <a:gd name="connsiteX2" fmla="*/ 3140538 w 3140538"/>
              <a:gd name="connsiteY2" fmla="*/ 1799713 h 1799713"/>
              <a:gd name="connsiteX3" fmla="*/ 0 w 3140538"/>
              <a:gd name="connsiteY3" fmla="*/ 0 h 1799713"/>
              <a:gd name="connsiteX0" fmla="*/ 0 w 3126890"/>
              <a:gd name="connsiteY0" fmla="*/ 0 h 1786065"/>
              <a:gd name="connsiteX1" fmla="*/ 1040202 w 3126890"/>
              <a:gd name="connsiteY1" fmla="*/ 1773715 h 1786065"/>
              <a:gd name="connsiteX2" fmla="*/ 3126890 w 3126890"/>
              <a:gd name="connsiteY2" fmla="*/ 1786065 h 1786065"/>
              <a:gd name="connsiteX3" fmla="*/ 0 w 3126890"/>
              <a:gd name="connsiteY3" fmla="*/ 0 h 1786065"/>
              <a:gd name="connsiteX0" fmla="*/ 0 w 3113242"/>
              <a:gd name="connsiteY0" fmla="*/ 0 h 1782653"/>
              <a:gd name="connsiteX1" fmla="*/ 1026554 w 3113242"/>
              <a:gd name="connsiteY1" fmla="*/ 1770303 h 1782653"/>
              <a:gd name="connsiteX2" fmla="*/ 3113242 w 3113242"/>
              <a:gd name="connsiteY2" fmla="*/ 1782653 h 1782653"/>
              <a:gd name="connsiteX3" fmla="*/ 0 w 3113242"/>
              <a:gd name="connsiteY3" fmla="*/ 0 h 1782653"/>
              <a:gd name="connsiteX0" fmla="*/ 0 w 3123478"/>
              <a:gd name="connsiteY0" fmla="*/ 0 h 1782653"/>
              <a:gd name="connsiteX1" fmla="*/ 1036790 w 3123478"/>
              <a:gd name="connsiteY1" fmla="*/ 1770303 h 1782653"/>
              <a:gd name="connsiteX2" fmla="*/ 3123478 w 3123478"/>
              <a:gd name="connsiteY2" fmla="*/ 1782653 h 1782653"/>
              <a:gd name="connsiteX3" fmla="*/ 0 w 3123478"/>
              <a:gd name="connsiteY3" fmla="*/ 0 h 1782653"/>
              <a:gd name="connsiteX0" fmla="*/ 0 w 3109830"/>
              <a:gd name="connsiteY0" fmla="*/ 0 h 1782653"/>
              <a:gd name="connsiteX1" fmla="*/ 1036790 w 3109830"/>
              <a:gd name="connsiteY1" fmla="*/ 1770303 h 1782653"/>
              <a:gd name="connsiteX2" fmla="*/ 3109830 w 3109830"/>
              <a:gd name="connsiteY2" fmla="*/ 1782653 h 1782653"/>
              <a:gd name="connsiteX3" fmla="*/ 0 w 3109830"/>
              <a:gd name="connsiteY3" fmla="*/ 0 h 1782653"/>
              <a:gd name="connsiteX0" fmla="*/ 0 w 3120462"/>
              <a:gd name="connsiteY0" fmla="*/ 0 h 1793286"/>
              <a:gd name="connsiteX1" fmla="*/ 1047422 w 3120462"/>
              <a:gd name="connsiteY1" fmla="*/ 1780936 h 1793286"/>
              <a:gd name="connsiteX2" fmla="*/ 3120462 w 3120462"/>
              <a:gd name="connsiteY2" fmla="*/ 1793286 h 1793286"/>
              <a:gd name="connsiteX3" fmla="*/ 0 w 3120462"/>
              <a:gd name="connsiteY3" fmla="*/ 0 h 1793286"/>
            </a:gdLst>
            <a:ahLst/>
            <a:cxnLst>
              <a:cxn ang="0">
                <a:pos x="connsiteX0" y="connsiteY0"/>
              </a:cxn>
              <a:cxn ang="0">
                <a:pos x="connsiteX1" y="connsiteY1"/>
              </a:cxn>
              <a:cxn ang="0">
                <a:pos x="connsiteX2" y="connsiteY2"/>
              </a:cxn>
              <a:cxn ang="0">
                <a:pos x="connsiteX3" y="connsiteY3"/>
              </a:cxn>
            </a:cxnLst>
            <a:rect l="l" t="t" r="r" b="b"/>
            <a:pathLst>
              <a:path w="3120462" h="1793286">
                <a:moveTo>
                  <a:pt x="0" y="0"/>
                </a:moveTo>
                <a:lnTo>
                  <a:pt x="1047422" y="1780936"/>
                </a:lnTo>
                <a:lnTo>
                  <a:pt x="3120462" y="1793286"/>
                </a:lnTo>
                <a:lnTo>
                  <a:pt x="0" y="0"/>
                </a:lnTo>
                <a:close/>
              </a:path>
            </a:pathLst>
          </a:custGeom>
          <a:gradFill>
            <a:gsLst>
              <a:gs pos="19000">
                <a:schemeClr val="accent2"/>
              </a:gs>
              <a:gs pos="9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1" name="Freeform 30"/>
          <p:cNvSpPr/>
          <p:nvPr/>
        </p:nvSpPr>
        <p:spPr>
          <a:xfrm>
            <a:off x="-3295" y="1769807"/>
            <a:ext cx="1407341" cy="5098422"/>
          </a:xfrm>
          <a:custGeom>
            <a:avLst/>
            <a:gdLst>
              <a:gd name="connsiteX0" fmla="*/ 1026488 w 1398147"/>
              <a:gd name="connsiteY0" fmla="*/ 0 h 5073445"/>
              <a:gd name="connsiteX1" fmla="*/ 1398147 w 1398147"/>
              <a:gd name="connsiteY1" fmla="*/ 1875995 h 5073445"/>
              <a:gd name="connsiteX2" fmla="*/ 0 w 1398147"/>
              <a:gd name="connsiteY2" fmla="*/ 5073445 h 5073445"/>
              <a:gd name="connsiteX3" fmla="*/ 1026488 w 1398147"/>
              <a:gd name="connsiteY3" fmla="*/ 0 h 5073445"/>
              <a:gd name="connsiteX0" fmla="*/ 1032388 w 1398147"/>
              <a:gd name="connsiteY0" fmla="*/ 0 h 5055747"/>
              <a:gd name="connsiteX1" fmla="*/ 1398147 w 1398147"/>
              <a:gd name="connsiteY1" fmla="*/ 1858297 h 5055747"/>
              <a:gd name="connsiteX2" fmla="*/ 0 w 1398147"/>
              <a:gd name="connsiteY2" fmla="*/ 5055747 h 5055747"/>
              <a:gd name="connsiteX3" fmla="*/ 1032388 w 1398147"/>
              <a:gd name="connsiteY3" fmla="*/ 0 h 5055747"/>
              <a:gd name="connsiteX0" fmla="*/ 1032388 w 1398147"/>
              <a:gd name="connsiteY0" fmla="*/ 0 h 5061646"/>
              <a:gd name="connsiteX1" fmla="*/ 1398147 w 1398147"/>
              <a:gd name="connsiteY1" fmla="*/ 1864196 h 5061646"/>
              <a:gd name="connsiteX2" fmla="*/ 0 w 1398147"/>
              <a:gd name="connsiteY2" fmla="*/ 5061646 h 5061646"/>
              <a:gd name="connsiteX3" fmla="*/ 1032388 w 1398147"/>
              <a:gd name="connsiteY3" fmla="*/ 0 h 5061646"/>
              <a:gd name="connsiteX0" fmla="*/ 1032388 w 1398147"/>
              <a:gd name="connsiteY0" fmla="*/ 0 h 5079344"/>
              <a:gd name="connsiteX1" fmla="*/ 1398147 w 1398147"/>
              <a:gd name="connsiteY1" fmla="*/ 1881894 h 5079344"/>
              <a:gd name="connsiteX2" fmla="*/ 0 w 1398147"/>
              <a:gd name="connsiteY2" fmla="*/ 5079344 h 5079344"/>
              <a:gd name="connsiteX3" fmla="*/ 1032388 w 1398147"/>
              <a:gd name="connsiteY3" fmla="*/ 0 h 5079344"/>
              <a:gd name="connsiteX0" fmla="*/ 1032388 w 1398147"/>
              <a:gd name="connsiteY0" fmla="*/ 0 h 5089936"/>
              <a:gd name="connsiteX1" fmla="*/ 1398147 w 1398147"/>
              <a:gd name="connsiteY1" fmla="*/ 1881894 h 5089936"/>
              <a:gd name="connsiteX2" fmla="*/ 0 w 1398147"/>
              <a:gd name="connsiteY2" fmla="*/ 5089936 h 5089936"/>
              <a:gd name="connsiteX3" fmla="*/ 1032388 w 1398147"/>
              <a:gd name="connsiteY3" fmla="*/ 0 h 5089936"/>
              <a:gd name="connsiteX0" fmla="*/ 1039450 w 1405209"/>
              <a:gd name="connsiteY0" fmla="*/ 0 h 5089936"/>
              <a:gd name="connsiteX1" fmla="*/ 1405209 w 1405209"/>
              <a:gd name="connsiteY1" fmla="*/ 1881894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8890 w 1405209"/>
              <a:gd name="connsiteY3" fmla="*/ 5081754 h 5089936"/>
              <a:gd name="connsiteX4" fmla="*/ 1039450 w 1405209"/>
              <a:gd name="connsiteY4" fmla="*/ 0 h 5089936"/>
              <a:gd name="connsiteX0" fmla="*/ 1041582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41582 w 1407341"/>
              <a:gd name="connsiteY4" fmla="*/ 0 h 5098422"/>
              <a:gd name="connsiteX0" fmla="*/ 1034758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34758 w 1407341"/>
              <a:gd name="connsiteY4" fmla="*/ 0 h 509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341" h="5098422">
                <a:moveTo>
                  <a:pt x="1034758" y="0"/>
                </a:moveTo>
                <a:lnTo>
                  <a:pt x="1407341" y="1891419"/>
                </a:lnTo>
                <a:lnTo>
                  <a:pt x="2132" y="5089936"/>
                </a:lnTo>
                <a:cubicBezTo>
                  <a:pt x="5095" y="5083774"/>
                  <a:pt x="-2244" y="5103370"/>
                  <a:pt x="719" y="5097208"/>
                </a:cubicBezTo>
                <a:lnTo>
                  <a:pt x="1034758" y="0"/>
                </a:lnTo>
                <a:close/>
              </a:path>
            </a:pathLst>
          </a:custGeom>
          <a:gradFill>
            <a:gsLst>
              <a:gs pos="15000">
                <a:schemeClr val="accent2"/>
              </a:gs>
              <a:gs pos="76000">
                <a:schemeClr val="accent1"/>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2" name="Freeform 31"/>
          <p:cNvSpPr/>
          <p:nvPr/>
        </p:nvSpPr>
        <p:spPr>
          <a:xfrm>
            <a:off x="8694845" y="2426110"/>
            <a:ext cx="2293341" cy="4440419"/>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 name="connsiteX0" fmla="*/ 958645 w 2269487"/>
              <a:gd name="connsiteY0" fmla="*/ 0 h 4424516"/>
              <a:gd name="connsiteX1" fmla="*/ 2269487 w 2269487"/>
              <a:gd name="connsiteY1" fmla="*/ 1388112 h 4424516"/>
              <a:gd name="connsiteX2" fmla="*/ 0 w 2269487"/>
              <a:gd name="connsiteY2" fmla="*/ 4424516 h 4424516"/>
              <a:gd name="connsiteX3" fmla="*/ 958645 w 2269487"/>
              <a:gd name="connsiteY3" fmla="*/ 0 h 4424516"/>
              <a:gd name="connsiteX0" fmla="*/ 982499 w 2293341"/>
              <a:gd name="connsiteY0" fmla="*/ 0 h 4440419"/>
              <a:gd name="connsiteX1" fmla="*/ 2293341 w 2293341"/>
              <a:gd name="connsiteY1" fmla="*/ 1388112 h 4440419"/>
              <a:gd name="connsiteX2" fmla="*/ 0 w 2293341"/>
              <a:gd name="connsiteY2" fmla="*/ 4440419 h 4440419"/>
              <a:gd name="connsiteX3" fmla="*/ 982499 w 2293341"/>
              <a:gd name="connsiteY3" fmla="*/ 0 h 4440419"/>
            </a:gdLst>
            <a:ahLst/>
            <a:cxnLst>
              <a:cxn ang="0">
                <a:pos x="connsiteX0" y="connsiteY0"/>
              </a:cxn>
              <a:cxn ang="0">
                <a:pos x="connsiteX1" y="connsiteY1"/>
              </a:cxn>
              <a:cxn ang="0">
                <a:pos x="connsiteX2" y="connsiteY2"/>
              </a:cxn>
              <a:cxn ang="0">
                <a:pos x="connsiteX3" y="connsiteY3"/>
              </a:cxn>
            </a:cxnLst>
            <a:rect l="l" t="t" r="r" b="b"/>
            <a:pathLst>
              <a:path w="2293341" h="4440419">
                <a:moveTo>
                  <a:pt x="982499" y="0"/>
                </a:moveTo>
                <a:lnTo>
                  <a:pt x="2293341" y="1388112"/>
                </a:lnTo>
                <a:lnTo>
                  <a:pt x="0" y="4440419"/>
                </a:lnTo>
                <a:lnTo>
                  <a:pt x="982499" y="0"/>
                </a:lnTo>
                <a:close/>
              </a:path>
            </a:pathLst>
          </a:custGeom>
          <a:gradFill>
            <a:gsLst>
              <a:gs pos="34000">
                <a:schemeClr val="accent2"/>
              </a:gs>
              <a:gs pos="100000">
                <a:schemeClr val="accent1"/>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3" name="Freeform 32"/>
          <p:cNvSpPr/>
          <p:nvPr/>
        </p:nvSpPr>
        <p:spPr>
          <a:xfrm>
            <a:off x="9669015" y="1094096"/>
            <a:ext cx="2522985" cy="2734954"/>
          </a:xfrm>
          <a:custGeom>
            <a:avLst/>
            <a:gdLst>
              <a:gd name="connsiteX0" fmla="*/ 2481262 w 2481262"/>
              <a:gd name="connsiteY0" fmla="*/ 0 h 2762250"/>
              <a:gd name="connsiteX1" fmla="*/ 0 w 2481262"/>
              <a:gd name="connsiteY1" fmla="*/ 1371600 h 2762250"/>
              <a:gd name="connsiteX2" fmla="*/ 1309687 w 2481262"/>
              <a:gd name="connsiteY2" fmla="*/ 2762250 h 2762250"/>
              <a:gd name="connsiteX3" fmla="*/ 2481262 w 2481262"/>
              <a:gd name="connsiteY3" fmla="*/ 0 h 2762250"/>
              <a:gd name="connsiteX0" fmla="*/ 2481262 w 2481262"/>
              <a:gd name="connsiteY0" fmla="*/ 0 h 2762250"/>
              <a:gd name="connsiteX1" fmla="*/ 0 w 2481262"/>
              <a:gd name="connsiteY1" fmla="*/ 1371600 h 2762250"/>
              <a:gd name="connsiteX2" fmla="*/ 1292857 w 2481262"/>
              <a:gd name="connsiteY2" fmla="*/ 2762250 h 2762250"/>
              <a:gd name="connsiteX3" fmla="*/ 2481262 w 2481262"/>
              <a:gd name="connsiteY3" fmla="*/ 0 h 2762250"/>
              <a:gd name="connsiteX0" fmla="*/ 2509311 w 2509311"/>
              <a:gd name="connsiteY0" fmla="*/ 0 h 2762250"/>
              <a:gd name="connsiteX1" fmla="*/ 0 w 2509311"/>
              <a:gd name="connsiteY1" fmla="*/ 1354771 h 2762250"/>
              <a:gd name="connsiteX2" fmla="*/ 1320906 w 2509311"/>
              <a:gd name="connsiteY2" fmla="*/ 2762250 h 2762250"/>
              <a:gd name="connsiteX3" fmla="*/ 2509311 w 2509311"/>
              <a:gd name="connsiteY3" fmla="*/ 0 h 2762250"/>
              <a:gd name="connsiteX0" fmla="*/ 2519943 w 2519943"/>
              <a:gd name="connsiteY0" fmla="*/ 0 h 2762250"/>
              <a:gd name="connsiteX1" fmla="*/ 0 w 2519943"/>
              <a:gd name="connsiteY1" fmla="*/ 1354771 h 2762250"/>
              <a:gd name="connsiteX2" fmla="*/ 1320906 w 2519943"/>
              <a:gd name="connsiteY2" fmla="*/ 2762250 h 2762250"/>
              <a:gd name="connsiteX3" fmla="*/ 2519943 w 2519943"/>
              <a:gd name="connsiteY3" fmla="*/ 0 h 2762250"/>
              <a:gd name="connsiteX0" fmla="*/ 2530575 w 2530575"/>
              <a:gd name="connsiteY0" fmla="*/ 0 h 2762250"/>
              <a:gd name="connsiteX1" fmla="*/ 0 w 2530575"/>
              <a:gd name="connsiteY1" fmla="*/ 1354771 h 2762250"/>
              <a:gd name="connsiteX2" fmla="*/ 1320906 w 2530575"/>
              <a:gd name="connsiteY2" fmla="*/ 2762250 h 2762250"/>
              <a:gd name="connsiteX3" fmla="*/ 2530575 w 2530575"/>
              <a:gd name="connsiteY3" fmla="*/ 0 h 2762250"/>
            </a:gdLst>
            <a:ahLst/>
            <a:cxnLst>
              <a:cxn ang="0">
                <a:pos x="connsiteX0" y="connsiteY0"/>
              </a:cxn>
              <a:cxn ang="0">
                <a:pos x="connsiteX1" y="connsiteY1"/>
              </a:cxn>
              <a:cxn ang="0">
                <a:pos x="connsiteX2" y="connsiteY2"/>
              </a:cxn>
              <a:cxn ang="0">
                <a:pos x="connsiteX3" y="connsiteY3"/>
              </a:cxn>
            </a:cxnLst>
            <a:rect l="l" t="t" r="r" b="b"/>
            <a:pathLst>
              <a:path w="2530575" h="2762250">
                <a:moveTo>
                  <a:pt x="2530575" y="0"/>
                </a:moveTo>
                <a:lnTo>
                  <a:pt x="0" y="1354771"/>
                </a:lnTo>
                <a:lnTo>
                  <a:pt x="1320906" y="2762250"/>
                </a:lnTo>
                <a:lnTo>
                  <a:pt x="2530575" y="0"/>
                </a:lnTo>
                <a:close/>
              </a:path>
            </a:pathLst>
          </a:custGeom>
          <a:gradFill>
            <a:gsLst>
              <a:gs pos="21000">
                <a:schemeClr val="accent1"/>
              </a:gs>
              <a:gs pos="100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4" name="Freeform 33"/>
          <p:cNvSpPr/>
          <p:nvPr/>
        </p:nvSpPr>
        <p:spPr>
          <a:xfrm>
            <a:off x="3317358" y="-5316"/>
            <a:ext cx="4354033" cy="1222744"/>
          </a:xfrm>
          <a:custGeom>
            <a:avLst/>
            <a:gdLst>
              <a:gd name="connsiteX0" fmla="*/ 0 w 4354033"/>
              <a:gd name="connsiteY0" fmla="*/ 0 h 1217428"/>
              <a:gd name="connsiteX1" fmla="*/ 3067493 w 4354033"/>
              <a:gd name="connsiteY1" fmla="*/ 10632 h 1217428"/>
              <a:gd name="connsiteX2" fmla="*/ 4354033 w 4354033"/>
              <a:gd name="connsiteY2" fmla="*/ 1217428 h 1217428"/>
              <a:gd name="connsiteX3" fmla="*/ 0 w 4354033"/>
              <a:gd name="connsiteY3" fmla="*/ 0 h 1217428"/>
              <a:gd name="connsiteX0" fmla="*/ 0 w 4354033"/>
              <a:gd name="connsiteY0" fmla="*/ 0 h 1217428"/>
              <a:gd name="connsiteX1" fmla="*/ 3088758 w 4354033"/>
              <a:gd name="connsiteY1" fmla="*/ 10632 h 1217428"/>
              <a:gd name="connsiteX2" fmla="*/ 4354033 w 4354033"/>
              <a:gd name="connsiteY2" fmla="*/ 1217428 h 1217428"/>
              <a:gd name="connsiteX3" fmla="*/ 0 w 4354033"/>
              <a:gd name="connsiteY3" fmla="*/ 0 h 1217428"/>
              <a:gd name="connsiteX0" fmla="*/ 0 w 4375298"/>
              <a:gd name="connsiteY0" fmla="*/ 0 h 1217428"/>
              <a:gd name="connsiteX1" fmla="*/ 3088758 w 4375298"/>
              <a:gd name="connsiteY1" fmla="*/ 10632 h 1217428"/>
              <a:gd name="connsiteX2" fmla="*/ 4375298 w 4375298"/>
              <a:gd name="connsiteY2" fmla="*/ 1217428 h 1217428"/>
              <a:gd name="connsiteX3" fmla="*/ 0 w 4375298"/>
              <a:gd name="connsiteY3" fmla="*/ 0 h 1217428"/>
              <a:gd name="connsiteX0" fmla="*/ 0 w 4364666"/>
              <a:gd name="connsiteY0" fmla="*/ 0 h 1217428"/>
              <a:gd name="connsiteX1" fmla="*/ 3088758 w 4364666"/>
              <a:gd name="connsiteY1" fmla="*/ 10632 h 1217428"/>
              <a:gd name="connsiteX2" fmla="*/ 4364666 w 4364666"/>
              <a:gd name="connsiteY2" fmla="*/ 1217428 h 1217428"/>
              <a:gd name="connsiteX3" fmla="*/ 0 w 4364666"/>
              <a:gd name="connsiteY3" fmla="*/ 0 h 1217428"/>
              <a:gd name="connsiteX0" fmla="*/ 0 w 4354033"/>
              <a:gd name="connsiteY0" fmla="*/ 0 h 1222744"/>
              <a:gd name="connsiteX1" fmla="*/ 3088758 w 4354033"/>
              <a:gd name="connsiteY1" fmla="*/ 10632 h 1222744"/>
              <a:gd name="connsiteX2" fmla="*/ 4354033 w 4354033"/>
              <a:gd name="connsiteY2" fmla="*/ 1222744 h 1222744"/>
              <a:gd name="connsiteX3" fmla="*/ 0 w 4354033"/>
              <a:gd name="connsiteY3" fmla="*/ 0 h 1222744"/>
              <a:gd name="connsiteX0" fmla="*/ 0 w 4354033"/>
              <a:gd name="connsiteY0" fmla="*/ 5317 h 1228061"/>
              <a:gd name="connsiteX1" fmla="*/ 3083442 w 4354033"/>
              <a:gd name="connsiteY1" fmla="*/ 0 h 1228061"/>
              <a:gd name="connsiteX2" fmla="*/ 4354033 w 4354033"/>
              <a:gd name="connsiteY2" fmla="*/ 1228061 h 1228061"/>
              <a:gd name="connsiteX3" fmla="*/ 0 w 4354033"/>
              <a:gd name="connsiteY3" fmla="*/ 5317 h 1228061"/>
              <a:gd name="connsiteX0" fmla="*/ 0 w 4354033"/>
              <a:gd name="connsiteY0" fmla="*/ 0 h 1222744"/>
              <a:gd name="connsiteX1" fmla="*/ 3094074 w 4354033"/>
              <a:gd name="connsiteY1" fmla="*/ 5315 h 1222744"/>
              <a:gd name="connsiteX2" fmla="*/ 4354033 w 4354033"/>
              <a:gd name="connsiteY2" fmla="*/ 1222744 h 1222744"/>
              <a:gd name="connsiteX3" fmla="*/ 0 w 4354033"/>
              <a:gd name="connsiteY3" fmla="*/ 0 h 1222744"/>
            </a:gdLst>
            <a:ahLst/>
            <a:cxnLst>
              <a:cxn ang="0">
                <a:pos x="connsiteX0" y="connsiteY0"/>
              </a:cxn>
              <a:cxn ang="0">
                <a:pos x="connsiteX1" y="connsiteY1"/>
              </a:cxn>
              <a:cxn ang="0">
                <a:pos x="connsiteX2" y="connsiteY2"/>
              </a:cxn>
              <a:cxn ang="0">
                <a:pos x="connsiteX3" y="connsiteY3"/>
              </a:cxn>
            </a:cxnLst>
            <a:rect l="l" t="t" r="r" b="b"/>
            <a:pathLst>
              <a:path w="4354033" h="1222744">
                <a:moveTo>
                  <a:pt x="0" y="0"/>
                </a:moveTo>
                <a:lnTo>
                  <a:pt x="3094074" y="5315"/>
                </a:lnTo>
                <a:lnTo>
                  <a:pt x="4354033" y="1222744"/>
                </a:lnTo>
                <a:lnTo>
                  <a:pt x="0" y="0"/>
                </a:lnTo>
                <a:close/>
              </a:path>
            </a:pathLst>
          </a:custGeom>
          <a:gradFill>
            <a:gsLst>
              <a:gs pos="100000">
                <a:schemeClr val="accent2"/>
              </a:gs>
              <a:gs pos="44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5" name="Freeform 34"/>
          <p:cNvSpPr/>
          <p:nvPr/>
        </p:nvSpPr>
        <p:spPr>
          <a:xfrm>
            <a:off x="8690615" y="3783805"/>
            <a:ext cx="2797640" cy="3086077"/>
          </a:xfrm>
          <a:custGeom>
            <a:avLst/>
            <a:gdLst>
              <a:gd name="connsiteX0" fmla="*/ 2270113 w 2753791"/>
              <a:gd name="connsiteY0" fmla="*/ 0 h 3029171"/>
              <a:gd name="connsiteX1" fmla="*/ 0 w 2753791"/>
              <a:gd name="connsiteY1" fmla="*/ 3025640 h 3029171"/>
              <a:gd name="connsiteX2" fmla="*/ 2753791 w 2753791"/>
              <a:gd name="connsiteY2" fmla="*/ 3029171 h 3029171"/>
              <a:gd name="connsiteX3" fmla="*/ 2270113 w 2753791"/>
              <a:gd name="connsiteY3" fmla="*/ 0 h 3029171"/>
              <a:gd name="connsiteX0" fmla="*/ 2247810 w 2753791"/>
              <a:gd name="connsiteY0" fmla="*/ 0 h 3073776"/>
              <a:gd name="connsiteX1" fmla="*/ 0 w 2753791"/>
              <a:gd name="connsiteY1" fmla="*/ 3070245 h 3073776"/>
              <a:gd name="connsiteX2" fmla="*/ 2753791 w 2753791"/>
              <a:gd name="connsiteY2" fmla="*/ 3073776 h 3073776"/>
              <a:gd name="connsiteX3" fmla="*/ 2247810 w 2753791"/>
              <a:gd name="connsiteY3" fmla="*/ 0 h 3073776"/>
              <a:gd name="connsiteX0" fmla="*/ 2311420 w 2817401"/>
              <a:gd name="connsiteY0" fmla="*/ 0 h 3073776"/>
              <a:gd name="connsiteX1" fmla="*/ 0 w 2817401"/>
              <a:gd name="connsiteY1" fmla="*/ 3062294 h 3073776"/>
              <a:gd name="connsiteX2" fmla="*/ 2817401 w 2817401"/>
              <a:gd name="connsiteY2" fmla="*/ 3073776 h 3073776"/>
              <a:gd name="connsiteX3" fmla="*/ 2311420 w 2817401"/>
              <a:gd name="connsiteY3" fmla="*/ 0 h 3073776"/>
              <a:gd name="connsiteX0" fmla="*/ 2311420 w 2817401"/>
              <a:gd name="connsiteY0" fmla="*/ 0 h 3089589"/>
              <a:gd name="connsiteX1" fmla="*/ 0 w 2817401"/>
              <a:gd name="connsiteY1" fmla="*/ 3089589 h 3089589"/>
              <a:gd name="connsiteX2" fmla="*/ 2817401 w 2817401"/>
              <a:gd name="connsiteY2" fmla="*/ 3073776 h 3089589"/>
              <a:gd name="connsiteX3" fmla="*/ 2311420 w 2817401"/>
              <a:gd name="connsiteY3" fmla="*/ 0 h 3089589"/>
              <a:gd name="connsiteX0" fmla="*/ 2306657 w 2812638"/>
              <a:gd name="connsiteY0" fmla="*/ 0 h 3089589"/>
              <a:gd name="connsiteX1" fmla="*/ 0 w 2812638"/>
              <a:gd name="connsiteY1" fmla="*/ 3089589 h 3089589"/>
              <a:gd name="connsiteX2" fmla="*/ 2812638 w 2812638"/>
              <a:gd name="connsiteY2" fmla="*/ 3073776 h 3089589"/>
              <a:gd name="connsiteX3" fmla="*/ 2306657 w 2812638"/>
              <a:gd name="connsiteY3" fmla="*/ 0 h 3089589"/>
              <a:gd name="connsiteX0" fmla="*/ 2306657 w 2812638"/>
              <a:gd name="connsiteY0" fmla="*/ 0 h 3084826"/>
              <a:gd name="connsiteX1" fmla="*/ 0 w 2812638"/>
              <a:gd name="connsiteY1" fmla="*/ 3084826 h 3084826"/>
              <a:gd name="connsiteX2" fmla="*/ 2812638 w 2812638"/>
              <a:gd name="connsiteY2" fmla="*/ 3073776 h 3084826"/>
              <a:gd name="connsiteX3" fmla="*/ 2306657 w 2812638"/>
              <a:gd name="connsiteY3" fmla="*/ 0 h 3084826"/>
              <a:gd name="connsiteX0" fmla="*/ 2292370 w 2798351"/>
              <a:gd name="connsiteY0" fmla="*/ 0 h 3084826"/>
              <a:gd name="connsiteX1" fmla="*/ 0 w 2798351"/>
              <a:gd name="connsiteY1" fmla="*/ 3084826 h 3084826"/>
              <a:gd name="connsiteX2" fmla="*/ 2798351 w 2798351"/>
              <a:gd name="connsiteY2" fmla="*/ 3073776 h 3084826"/>
              <a:gd name="connsiteX3" fmla="*/ 2292370 w 279835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311420 w 2804701"/>
              <a:gd name="connsiteY0" fmla="*/ 0 h 3084826"/>
              <a:gd name="connsiteX1" fmla="*/ 0 w 2804701"/>
              <a:gd name="connsiteY1" fmla="*/ 3084826 h 3084826"/>
              <a:gd name="connsiteX2" fmla="*/ 2804701 w 2804701"/>
              <a:gd name="connsiteY2" fmla="*/ 3073776 h 3084826"/>
              <a:gd name="connsiteX3" fmla="*/ 2311420 w 2804701"/>
              <a:gd name="connsiteY3" fmla="*/ 0 h 3084826"/>
              <a:gd name="connsiteX0" fmla="*/ 2311420 w 2804701"/>
              <a:gd name="connsiteY0" fmla="*/ 0 h 3087424"/>
              <a:gd name="connsiteX1" fmla="*/ 0 w 2804701"/>
              <a:gd name="connsiteY1" fmla="*/ 3084826 h 3087424"/>
              <a:gd name="connsiteX2" fmla="*/ 2804701 w 2804701"/>
              <a:gd name="connsiteY2" fmla="*/ 3087424 h 3087424"/>
              <a:gd name="connsiteX3" fmla="*/ 2311420 w 2804701"/>
              <a:gd name="connsiteY3" fmla="*/ 0 h 3087424"/>
              <a:gd name="connsiteX0" fmla="*/ 2311420 w 2818349"/>
              <a:gd name="connsiteY0" fmla="*/ 0 h 3087424"/>
              <a:gd name="connsiteX1" fmla="*/ 0 w 2818349"/>
              <a:gd name="connsiteY1" fmla="*/ 3084826 h 3087424"/>
              <a:gd name="connsiteX2" fmla="*/ 2818349 w 2818349"/>
              <a:gd name="connsiteY2" fmla="*/ 3087424 h 3087424"/>
              <a:gd name="connsiteX3" fmla="*/ 2311420 w 2818349"/>
              <a:gd name="connsiteY3" fmla="*/ 0 h 3087424"/>
            </a:gdLst>
            <a:ahLst/>
            <a:cxnLst>
              <a:cxn ang="0">
                <a:pos x="connsiteX0" y="connsiteY0"/>
              </a:cxn>
              <a:cxn ang="0">
                <a:pos x="connsiteX1" y="connsiteY1"/>
              </a:cxn>
              <a:cxn ang="0">
                <a:pos x="connsiteX2" y="connsiteY2"/>
              </a:cxn>
              <a:cxn ang="0">
                <a:pos x="connsiteX3" y="connsiteY3"/>
              </a:cxn>
            </a:cxnLst>
            <a:rect l="l" t="t" r="r" b="b"/>
            <a:pathLst>
              <a:path w="2818349" h="3087424">
                <a:moveTo>
                  <a:pt x="2311420" y="0"/>
                </a:moveTo>
                <a:lnTo>
                  <a:pt x="0" y="3084826"/>
                </a:lnTo>
                <a:lnTo>
                  <a:pt x="2818349" y="3087424"/>
                </a:lnTo>
                <a:lnTo>
                  <a:pt x="2311420" y="0"/>
                </a:lnTo>
                <a:close/>
              </a:path>
            </a:pathLst>
          </a:custGeom>
          <a:gradFill>
            <a:gsLst>
              <a:gs pos="11000">
                <a:schemeClr val="accent2"/>
              </a:gs>
              <a:gs pos="78000">
                <a:schemeClr val="accent1"/>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6" name="Freeform 35"/>
          <p:cNvSpPr/>
          <p:nvPr/>
        </p:nvSpPr>
        <p:spPr>
          <a:xfrm>
            <a:off x="7660347" y="1094096"/>
            <a:ext cx="4531653" cy="1344304"/>
          </a:xfrm>
          <a:custGeom>
            <a:avLst/>
            <a:gdLst>
              <a:gd name="connsiteX0" fmla="*/ 0 w 4533900"/>
              <a:gd name="connsiteY0" fmla="*/ 142875 h 1371600"/>
              <a:gd name="connsiteX1" fmla="*/ 4533900 w 4533900"/>
              <a:gd name="connsiteY1" fmla="*/ 0 h 1371600"/>
              <a:gd name="connsiteX2" fmla="*/ 2043113 w 4533900"/>
              <a:gd name="connsiteY2" fmla="*/ 1371600 h 1371600"/>
              <a:gd name="connsiteX3" fmla="*/ 0 w 4533900"/>
              <a:gd name="connsiteY3" fmla="*/ 142875 h 1371600"/>
              <a:gd name="connsiteX0" fmla="*/ 0 w 4533900"/>
              <a:gd name="connsiteY0" fmla="*/ 142875 h 1371600"/>
              <a:gd name="connsiteX1" fmla="*/ 4533900 w 4533900"/>
              <a:gd name="connsiteY1" fmla="*/ 0 h 1371600"/>
              <a:gd name="connsiteX2" fmla="*/ 2021848 w 4533900"/>
              <a:gd name="connsiteY2" fmla="*/ 1371600 h 1371600"/>
              <a:gd name="connsiteX3" fmla="*/ 0 w 4533900"/>
              <a:gd name="connsiteY3" fmla="*/ 142875 h 1371600"/>
              <a:gd name="connsiteX0" fmla="*/ 0 w 4544532"/>
              <a:gd name="connsiteY0" fmla="*/ 153508 h 1371600"/>
              <a:gd name="connsiteX1" fmla="*/ 4544532 w 4544532"/>
              <a:gd name="connsiteY1" fmla="*/ 0 h 1371600"/>
              <a:gd name="connsiteX2" fmla="*/ 2032480 w 4544532"/>
              <a:gd name="connsiteY2" fmla="*/ 1371600 h 1371600"/>
              <a:gd name="connsiteX3" fmla="*/ 0 w 4544532"/>
              <a:gd name="connsiteY3" fmla="*/ 153508 h 1371600"/>
              <a:gd name="connsiteX0" fmla="*/ 0 w 4544532"/>
              <a:gd name="connsiteY0" fmla="*/ 142875 h 1371600"/>
              <a:gd name="connsiteX1" fmla="*/ 4544532 w 4544532"/>
              <a:gd name="connsiteY1" fmla="*/ 0 h 1371600"/>
              <a:gd name="connsiteX2" fmla="*/ 2032480 w 4544532"/>
              <a:gd name="connsiteY2" fmla="*/ 1371600 h 1371600"/>
              <a:gd name="connsiteX3" fmla="*/ 0 w 4544532"/>
              <a:gd name="connsiteY3" fmla="*/ 142875 h 1371600"/>
              <a:gd name="connsiteX0" fmla="*/ 0 w 4536805"/>
              <a:gd name="connsiteY0" fmla="*/ 148026 h 1371600"/>
              <a:gd name="connsiteX1" fmla="*/ 4536805 w 4536805"/>
              <a:gd name="connsiteY1" fmla="*/ 0 h 1371600"/>
              <a:gd name="connsiteX2" fmla="*/ 2024753 w 4536805"/>
              <a:gd name="connsiteY2" fmla="*/ 1371600 h 1371600"/>
              <a:gd name="connsiteX3" fmla="*/ 0 w 4536805"/>
              <a:gd name="connsiteY3" fmla="*/ 148026 h 1371600"/>
              <a:gd name="connsiteX0" fmla="*/ 0 w 4531653"/>
              <a:gd name="connsiteY0" fmla="*/ 142874 h 1371600"/>
              <a:gd name="connsiteX1" fmla="*/ 4531653 w 4531653"/>
              <a:gd name="connsiteY1" fmla="*/ 0 h 1371600"/>
              <a:gd name="connsiteX2" fmla="*/ 2019601 w 4531653"/>
              <a:gd name="connsiteY2" fmla="*/ 1371600 h 1371600"/>
              <a:gd name="connsiteX3" fmla="*/ 0 w 4531653"/>
              <a:gd name="connsiteY3" fmla="*/ 142874 h 1371600"/>
              <a:gd name="connsiteX0" fmla="*/ 0 w 3944799"/>
              <a:gd name="connsiteY0" fmla="*/ 33692 h 1262418"/>
              <a:gd name="connsiteX1" fmla="*/ 3944799 w 3944799"/>
              <a:gd name="connsiteY1" fmla="*/ 0 h 1262418"/>
              <a:gd name="connsiteX2" fmla="*/ 2019601 w 3944799"/>
              <a:gd name="connsiteY2" fmla="*/ 1262418 h 1262418"/>
              <a:gd name="connsiteX3" fmla="*/ 0 w 3944799"/>
              <a:gd name="connsiteY3" fmla="*/ 33692 h 1262418"/>
              <a:gd name="connsiteX0" fmla="*/ 0 w 4531653"/>
              <a:gd name="connsiteY0" fmla="*/ 115578 h 1344304"/>
              <a:gd name="connsiteX1" fmla="*/ 4531653 w 4531653"/>
              <a:gd name="connsiteY1" fmla="*/ 0 h 1344304"/>
              <a:gd name="connsiteX2" fmla="*/ 2019601 w 4531653"/>
              <a:gd name="connsiteY2" fmla="*/ 1344304 h 1344304"/>
              <a:gd name="connsiteX3" fmla="*/ 0 w 4531653"/>
              <a:gd name="connsiteY3" fmla="*/ 115578 h 1344304"/>
            </a:gdLst>
            <a:ahLst/>
            <a:cxnLst>
              <a:cxn ang="0">
                <a:pos x="connsiteX0" y="connsiteY0"/>
              </a:cxn>
              <a:cxn ang="0">
                <a:pos x="connsiteX1" y="connsiteY1"/>
              </a:cxn>
              <a:cxn ang="0">
                <a:pos x="connsiteX2" y="connsiteY2"/>
              </a:cxn>
              <a:cxn ang="0">
                <a:pos x="connsiteX3" y="connsiteY3"/>
              </a:cxn>
            </a:cxnLst>
            <a:rect l="l" t="t" r="r" b="b"/>
            <a:pathLst>
              <a:path w="4531653" h="1344304">
                <a:moveTo>
                  <a:pt x="0" y="115578"/>
                </a:moveTo>
                <a:lnTo>
                  <a:pt x="4531653" y="0"/>
                </a:lnTo>
                <a:lnTo>
                  <a:pt x="2019601" y="1344304"/>
                </a:lnTo>
                <a:lnTo>
                  <a:pt x="0" y="115578"/>
                </a:lnTo>
                <a:close/>
              </a:path>
            </a:pathLst>
          </a:custGeom>
          <a:gradFill>
            <a:gsLst>
              <a:gs pos="9000">
                <a:schemeClr val="accent1"/>
              </a:gs>
              <a:gs pos="100000">
                <a:schemeClr val="accent2"/>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7" name="Freeform 36"/>
          <p:cNvSpPr/>
          <p:nvPr/>
        </p:nvSpPr>
        <p:spPr>
          <a:xfrm>
            <a:off x="4067336" y="4705135"/>
            <a:ext cx="4628534" cy="2161794"/>
          </a:xfrm>
          <a:custGeom>
            <a:avLst/>
            <a:gdLst>
              <a:gd name="connsiteX0" fmla="*/ 0 w 4632158"/>
              <a:gd name="connsiteY0" fmla="*/ 1239253 h 2129590"/>
              <a:gd name="connsiteX1" fmla="*/ 3645569 w 4632158"/>
              <a:gd name="connsiteY1" fmla="*/ 0 h 2129590"/>
              <a:gd name="connsiteX2" fmla="*/ 4632158 w 4632158"/>
              <a:gd name="connsiteY2" fmla="*/ 2129590 h 2129590"/>
              <a:gd name="connsiteX3" fmla="*/ 0 w 4632158"/>
              <a:gd name="connsiteY3" fmla="*/ 1239253 h 2129590"/>
              <a:gd name="connsiteX0" fmla="*/ 0 w 4632158"/>
              <a:gd name="connsiteY0" fmla="*/ 1243228 h 2133565"/>
              <a:gd name="connsiteX1" fmla="*/ 3641593 w 4632158"/>
              <a:gd name="connsiteY1" fmla="*/ 0 h 2133565"/>
              <a:gd name="connsiteX2" fmla="*/ 4632158 w 4632158"/>
              <a:gd name="connsiteY2" fmla="*/ 2133565 h 2133565"/>
              <a:gd name="connsiteX3" fmla="*/ 0 w 4632158"/>
              <a:gd name="connsiteY3" fmla="*/ 1243228 h 2133565"/>
              <a:gd name="connsiteX0" fmla="*/ 0 w 4656011"/>
              <a:gd name="connsiteY0" fmla="*/ 1243228 h 2157419"/>
              <a:gd name="connsiteX1" fmla="*/ 3641593 w 4656011"/>
              <a:gd name="connsiteY1" fmla="*/ 0 h 2157419"/>
              <a:gd name="connsiteX2" fmla="*/ 4656011 w 4656011"/>
              <a:gd name="connsiteY2" fmla="*/ 2157419 h 2157419"/>
              <a:gd name="connsiteX3" fmla="*/ 0 w 4656011"/>
              <a:gd name="connsiteY3" fmla="*/ 1243228 h 2157419"/>
              <a:gd name="connsiteX0" fmla="*/ 0 w 4659987"/>
              <a:gd name="connsiteY0" fmla="*/ 1247204 h 2157419"/>
              <a:gd name="connsiteX1" fmla="*/ 3645569 w 4659987"/>
              <a:gd name="connsiteY1" fmla="*/ 0 h 2157419"/>
              <a:gd name="connsiteX2" fmla="*/ 4659987 w 4659987"/>
              <a:gd name="connsiteY2" fmla="*/ 2157419 h 2157419"/>
              <a:gd name="connsiteX3" fmla="*/ 0 w 4659987"/>
              <a:gd name="connsiteY3" fmla="*/ 1247204 h 2157419"/>
              <a:gd name="connsiteX0" fmla="*/ 0 w 4667938"/>
              <a:gd name="connsiteY0" fmla="*/ 1263107 h 2157419"/>
              <a:gd name="connsiteX1" fmla="*/ 3653520 w 4667938"/>
              <a:gd name="connsiteY1" fmla="*/ 0 h 2157419"/>
              <a:gd name="connsiteX2" fmla="*/ 4667938 w 4667938"/>
              <a:gd name="connsiteY2" fmla="*/ 2157419 h 2157419"/>
              <a:gd name="connsiteX3" fmla="*/ 0 w 4667938"/>
              <a:gd name="connsiteY3" fmla="*/ 1263107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59987"/>
              <a:gd name="connsiteY0" fmla="*/ 1251181 h 2157419"/>
              <a:gd name="connsiteX1" fmla="*/ 3645569 w 4659987"/>
              <a:gd name="connsiteY1" fmla="*/ 0 h 2157419"/>
              <a:gd name="connsiteX2" fmla="*/ 4659987 w 4659987"/>
              <a:gd name="connsiteY2" fmla="*/ 2157419 h 2157419"/>
              <a:gd name="connsiteX3" fmla="*/ 0 w 4659987"/>
              <a:gd name="connsiteY3" fmla="*/ 1251181 h 2157419"/>
              <a:gd name="connsiteX0" fmla="*/ 0 w 4674275"/>
              <a:gd name="connsiteY0" fmla="*/ 1251181 h 2157419"/>
              <a:gd name="connsiteX1" fmla="*/ 3645569 w 4674275"/>
              <a:gd name="connsiteY1" fmla="*/ 0 h 2157419"/>
              <a:gd name="connsiteX2" fmla="*/ 4674275 w 4674275"/>
              <a:gd name="connsiteY2" fmla="*/ 2157419 h 2157419"/>
              <a:gd name="connsiteX3" fmla="*/ 0 w 4674275"/>
              <a:gd name="connsiteY3" fmla="*/ 1251181 h 2157419"/>
              <a:gd name="connsiteX0" fmla="*/ 0 w 4683800"/>
              <a:gd name="connsiteY0" fmla="*/ 1251181 h 2157419"/>
              <a:gd name="connsiteX1" fmla="*/ 3655094 w 4683800"/>
              <a:gd name="connsiteY1" fmla="*/ 0 h 2157419"/>
              <a:gd name="connsiteX2" fmla="*/ 4683800 w 4683800"/>
              <a:gd name="connsiteY2" fmla="*/ 2157419 h 2157419"/>
              <a:gd name="connsiteX3" fmla="*/ 0 w 4683800"/>
              <a:gd name="connsiteY3" fmla="*/ 1251181 h 2157419"/>
              <a:gd name="connsiteX0" fmla="*/ 0 w 4695230"/>
              <a:gd name="connsiteY0" fmla="*/ 1251181 h 2157419"/>
              <a:gd name="connsiteX1" fmla="*/ 3666524 w 4695230"/>
              <a:gd name="connsiteY1" fmla="*/ 0 h 2157419"/>
              <a:gd name="connsiteX2" fmla="*/ 4695230 w 4695230"/>
              <a:gd name="connsiteY2" fmla="*/ 2157419 h 2157419"/>
              <a:gd name="connsiteX3" fmla="*/ 0 w 4695230"/>
              <a:gd name="connsiteY3" fmla="*/ 1251181 h 2157419"/>
              <a:gd name="connsiteX0" fmla="*/ 0 w 4695230"/>
              <a:gd name="connsiteY0" fmla="*/ 1251181 h 2171067"/>
              <a:gd name="connsiteX1" fmla="*/ 3666524 w 4695230"/>
              <a:gd name="connsiteY1" fmla="*/ 0 h 2171067"/>
              <a:gd name="connsiteX2" fmla="*/ 4695230 w 4695230"/>
              <a:gd name="connsiteY2" fmla="*/ 2171067 h 2171067"/>
              <a:gd name="connsiteX3" fmla="*/ 0 w 4695230"/>
              <a:gd name="connsiteY3" fmla="*/ 1251181 h 2171067"/>
              <a:gd name="connsiteX0" fmla="*/ 0 w 4708878"/>
              <a:gd name="connsiteY0" fmla="*/ 1251181 h 2184715"/>
              <a:gd name="connsiteX1" fmla="*/ 3666524 w 4708878"/>
              <a:gd name="connsiteY1" fmla="*/ 0 h 2184715"/>
              <a:gd name="connsiteX2" fmla="*/ 4708878 w 4708878"/>
              <a:gd name="connsiteY2" fmla="*/ 2184715 h 2184715"/>
              <a:gd name="connsiteX3" fmla="*/ 0 w 4708878"/>
              <a:gd name="connsiteY3" fmla="*/ 1251181 h 2184715"/>
              <a:gd name="connsiteX0" fmla="*/ 0 w 4722526"/>
              <a:gd name="connsiteY0" fmla="*/ 1251181 h 2198363"/>
              <a:gd name="connsiteX1" fmla="*/ 3666524 w 4722526"/>
              <a:gd name="connsiteY1" fmla="*/ 0 h 2198363"/>
              <a:gd name="connsiteX2" fmla="*/ 4722526 w 4722526"/>
              <a:gd name="connsiteY2" fmla="*/ 2198363 h 2198363"/>
              <a:gd name="connsiteX3" fmla="*/ 0 w 4722526"/>
              <a:gd name="connsiteY3" fmla="*/ 1251181 h 2198363"/>
              <a:gd name="connsiteX0" fmla="*/ 0 w 4658916"/>
              <a:gd name="connsiteY0" fmla="*/ 1251181 h 2190411"/>
              <a:gd name="connsiteX1" fmla="*/ 3666524 w 4658916"/>
              <a:gd name="connsiteY1" fmla="*/ 0 h 2190411"/>
              <a:gd name="connsiteX2" fmla="*/ 4658916 w 4658916"/>
              <a:gd name="connsiteY2" fmla="*/ 2190411 h 2190411"/>
              <a:gd name="connsiteX3" fmla="*/ 0 w 4658916"/>
              <a:gd name="connsiteY3" fmla="*/ 1251181 h 2190411"/>
              <a:gd name="connsiteX0" fmla="*/ 0 w 4658916"/>
              <a:gd name="connsiteY0" fmla="*/ 1251181 h 2166557"/>
              <a:gd name="connsiteX1" fmla="*/ 3666524 w 4658916"/>
              <a:gd name="connsiteY1" fmla="*/ 0 h 2166557"/>
              <a:gd name="connsiteX2" fmla="*/ 4658916 w 4658916"/>
              <a:gd name="connsiteY2" fmla="*/ 2166557 h 2166557"/>
              <a:gd name="connsiteX3" fmla="*/ 0 w 4658916"/>
              <a:gd name="connsiteY3" fmla="*/ 1251181 h 2166557"/>
              <a:gd name="connsiteX0" fmla="*/ 0 w 4670136"/>
              <a:gd name="connsiteY0" fmla="*/ 1251181 h 2166557"/>
              <a:gd name="connsiteX1" fmla="*/ 3677744 w 4670136"/>
              <a:gd name="connsiteY1" fmla="*/ 0 h 2166557"/>
              <a:gd name="connsiteX2" fmla="*/ 4670136 w 4670136"/>
              <a:gd name="connsiteY2" fmla="*/ 2166557 h 2166557"/>
              <a:gd name="connsiteX3" fmla="*/ 0 w 4670136"/>
              <a:gd name="connsiteY3" fmla="*/ 1251181 h 2166557"/>
              <a:gd name="connsiteX0" fmla="*/ 0 w 4653306"/>
              <a:gd name="connsiteY0" fmla="*/ 1251181 h 2166557"/>
              <a:gd name="connsiteX1" fmla="*/ 3660914 w 4653306"/>
              <a:gd name="connsiteY1" fmla="*/ 0 h 2166557"/>
              <a:gd name="connsiteX2" fmla="*/ 4653306 w 4653306"/>
              <a:gd name="connsiteY2" fmla="*/ 2166557 h 2166557"/>
              <a:gd name="connsiteX3" fmla="*/ 0 w 4653306"/>
              <a:gd name="connsiteY3" fmla="*/ 1251181 h 2166557"/>
              <a:gd name="connsiteX0" fmla="*/ 0 w 4001299"/>
              <a:gd name="connsiteY0" fmla="*/ 869518 h 2166557"/>
              <a:gd name="connsiteX1" fmla="*/ 3008907 w 4001299"/>
              <a:gd name="connsiteY1" fmla="*/ 0 h 2166557"/>
              <a:gd name="connsiteX2" fmla="*/ 4001299 w 4001299"/>
              <a:gd name="connsiteY2" fmla="*/ 2166557 h 2166557"/>
              <a:gd name="connsiteX3" fmla="*/ 0 w 4001299"/>
              <a:gd name="connsiteY3" fmla="*/ 869518 h 2166557"/>
              <a:gd name="connsiteX0" fmla="*/ 0 w 4645354"/>
              <a:gd name="connsiteY0" fmla="*/ 1251181 h 2166557"/>
              <a:gd name="connsiteX1" fmla="*/ 3652962 w 4645354"/>
              <a:gd name="connsiteY1" fmla="*/ 0 h 2166557"/>
              <a:gd name="connsiteX2" fmla="*/ 4645354 w 4645354"/>
              <a:gd name="connsiteY2" fmla="*/ 2166557 h 2166557"/>
              <a:gd name="connsiteX3" fmla="*/ 0 w 4645354"/>
              <a:gd name="connsiteY3" fmla="*/ 1251181 h 2166557"/>
              <a:gd name="connsiteX0" fmla="*/ 0 w 4645354"/>
              <a:gd name="connsiteY0" fmla="*/ 1243230 h 2166557"/>
              <a:gd name="connsiteX1" fmla="*/ 3652962 w 4645354"/>
              <a:gd name="connsiteY1" fmla="*/ 0 h 2166557"/>
              <a:gd name="connsiteX2" fmla="*/ 4645354 w 4645354"/>
              <a:gd name="connsiteY2" fmla="*/ 2166557 h 2166557"/>
              <a:gd name="connsiteX3" fmla="*/ 0 w 4645354"/>
              <a:gd name="connsiteY3" fmla="*/ 1243230 h 2166557"/>
              <a:gd name="connsiteX0" fmla="*/ 0 w 4645354"/>
              <a:gd name="connsiteY0" fmla="*/ 1238467 h 2161794"/>
              <a:gd name="connsiteX1" fmla="*/ 3664911 w 4645354"/>
              <a:gd name="connsiteY1" fmla="*/ 0 h 2161794"/>
              <a:gd name="connsiteX2" fmla="*/ 4645354 w 4645354"/>
              <a:gd name="connsiteY2" fmla="*/ 2161794 h 2161794"/>
              <a:gd name="connsiteX3" fmla="*/ 0 w 4645354"/>
              <a:gd name="connsiteY3" fmla="*/ 1238467 h 2161794"/>
            </a:gdLst>
            <a:ahLst/>
            <a:cxnLst>
              <a:cxn ang="0">
                <a:pos x="connsiteX0" y="connsiteY0"/>
              </a:cxn>
              <a:cxn ang="0">
                <a:pos x="connsiteX1" y="connsiteY1"/>
              </a:cxn>
              <a:cxn ang="0">
                <a:pos x="connsiteX2" y="connsiteY2"/>
              </a:cxn>
              <a:cxn ang="0">
                <a:pos x="connsiteX3" y="connsiteY3"/>
              </a:cxn>
            </a:cxnLst>
            <a:rect l="l" t="t" r="r" b="b"/>
            <a:pathLst>
              <a:path w="4645354" h="2161794">
                <a:moveTo>
                  <a:pt x="0" y="1238467"/>
                </a:moveTo>
                <a:lnTo>
                  <a:pt x="3664911" y="0"/>
                </a:lnTo>
                <a:lnTo>
                  <a:pt x="4645354" y="2161794"/>
                </a:lnTo>
                <a:lnTo>
                  <a:pt x="0" y="1238467"/>
                </a:lnTo>
                <a:close/>
              </a:path>
            </a:pathLst>
          </a:custGeom>
          <a:gradFill>
            <a:gsLst>
              <a:gs pos="2000">
                <a:schemeClr val="accent1"/>
              </a:gs>
              <a:gs pos="100000">
                <a:schemeClr val="accent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8" name="Freeform 37"/>
          <p:cNvSpPr/>
          <p:nvPr/>
        </p:nvSpPr>
        <p:spPr>
          <a:xfrm>
            <a:off x="3541852" y="3007895"/>
            <a:ext cx="2834884" cy="2947737"/>
          </a:xfrm>
          <a:custGeom>
            <a:avLst/>
            <a:gdLst>
              <a:gd name="connsiteX0" fmla="*/ 0 w 2791326"/>
              <a:gd name="connsiteY0" fmla="*/ 1816768 h 2947737"/>
              <a:gd name="connsiteX1" fmla="*/ 493294 w 2791326"/>
              <a:gd name="connsiteY1" fmla="*/ 2947737 h 2947737"/>
              <a:gd name="connsiteX2" fmla="*/ 2791326 w 2791326"/>
              <a:gd name="connsiteY2" fmla="*/ 0 h 2947737"/>
              <a:gd name="connsiteX3" fmla="*/ 0 w 2791326"/>
              <a:gd name="connsiteY3" fmla="*/ 1816768 h 2947737"/>
              <a:gd name="connsiteX0" fmla="*/ 0 w 2799638"/>
              <a:gd name="connsiteY0" fmla="*/ 1845863 h 2947737"/>
              <a:gd name="connsiteX1" fmla="*/ 501606 w 2799638"/>
              <a:gd name="connsiteY1" fmla="*/ 2947737 h 2947737"/>
              <a:gd name="connsiteX2" fmla="*/ 2799638 w 2799638"/>
              <a:gd name="connsiteY2" fmla="*/ 0 h 2947737"/>
              <a:gd name="connsiteX3" fmla="*/ 0 w 2799638"/>
              <a:gd name="connsiteY3" fmla="*/ 1845863 h 2947737"/>
              <a:gd name="connsiteX0" fmla="*/ 0 w 2826933"/>
              <a:gd name="connsiteY0" fmla="*/ 1886806 h 2947737"/>
              <a:gd name="connsiteX1" fmla="*/ 528901 w 2826933"/>
              <a:gd name="connsiteY1" fmla="*/ 2947737 h 2947737"/>
              <a:gd name="connsiteX2" fmla="*/ 2826933 w 2826933"/>
              <a:gd name="connsiteY2" fmla="*/ 0 h 2947737"/>
              <a:gd name="connsiteX3" fmla="*/ 0 w 2826933"/>
              <a:gd name="connsiteY3" fmla="*/ 1886806 h 2947737"/>
              <a:gd name="connsiteX0" fmla="*/ 0 w 2826933"/>
              <a:gd name="connsiteY0" fmla="*/ 1859510 h 2947737"/>
              <a:gd name="connsiteX1" fmla="*/ 528901 w 2826933"/>
              <a:gd name="connsiteY1" fmla="*/ 2947737 h 2947737"/>
              <a:gd name="connsiteX2" fmla="*/ 2826933 w 2826933"/>
              <a:gd name="connsiteY2" fmla="*/ 0 h 2947737"/>
              <a:gd name="connsiteX3" fmla="*/ 0 w 2826933"/>
              <a:gd name="connsiteY3" fmla="*/ 1859510 h 2947737"/>
              <a:gd name="connsiteX0" fmla="*/ 0 w 2826933"/>
              <a:gd name="connsiteY0" fmla="*/ 1859510 h 2947737"/>
              <a:gd name="connsiteX1" fmla="*/ 523291 w 2826933"/>
              <a:gd name="connsiteY1" fmla="*/ 2947737 h 2947737"/>
              <a:gd name="connsiteX2" fmla="*/ 2826933 w 2826933"/>
              <a:gd name="connsiteY2" fmla="*/ 0 h 2947737"/>
              <a:gd name="connsiteX3" fmla="*/ 0 w 2826933"/>
              <a:gd name="connsiteY3" fmla="*/ 1859510 h 2947737"/>
              <a:gd name="connsiteX0" fmla="*/ 0 w 2834884"/>
              <a:gd name="connsiteY0" fmla="*/ 1867462 h 2947737"/>
              <a:gd name="connsiteX1" fmla="*/ 531242 w 2834884"/>
              <a:gd name="connsiteY1" fmla="*/ 2947737 h 2947737"/>
              <a:gd name="connsiteX2" fmla="*/ 2834884 w 2834884"/>
              <a:gd name="connsiteY2" fmla="*/ 0 h 2947737"/>
              <a:gd name="connsiteX3" fmla="*/ 0 w 2834884"/>
              <a:gd name="connsiteY3" fmla="*/ 1867462 h 2947737"/>
            </a:gdLst>
            <a:ahLst/>
            <a:cxnLst>
              <a:cxn ang="0">
                <a:pos x="connsiteX0" y="connsiteY0"/>
              </a:cxn>
              <a:cxn ang="0">
                <a:pos x="connsiteX1" y="connsiteY1"/>
              </a:cxn>
              <a:cxn ang="0">
                <a:pos x="connsiteX2" y="connsiteY2"/>
              </a:cxn>
              <a:cxn ang="0">
                <a:pos x="connsiteX3" y="connsiteY3"/>
              </a:cxn>
            </a:cxnLst>
            <a:rect l="l" t="t" r="r" b="b"/>
            <a:pathLst>
              <a:path w="2834884" h="2947737">
                <a:moveTo>
                  <a:pt x="0" y="1867462"/>
                </a:moveTo>
                <a:lnTo>
                  <a:pt x="531242" y="2947737"/>
                </a:lnTo>
                <a:lnTo>
                  <a:pt x="2834884" y="0"/>
                </a:lnTo>
                <a:lnTo>
                  <a:pt x="0" y="1867462"/>
                </a:lnTo>
                <a:close/>
              </a:path>
            </a:pathLst>
          </a:custGeom>
          <a:gradFill>
            <a:gsLst>
              <a:gs pos="15000">
                <a:schemeClr val="accent2"/>
              </a:gs>
              <a:gs pos="97000">
                <a:schemeClr val="accent1"/>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userDrawn="1">
            <p:ph type="title"/>
          </p:nvPr>
        </p:nvSpPr>
        <p:spPr>
          <a:xfrm>
            <a:off x="379413" y="1333500"/>
            <a:ext cx="9521825" cy="4127499"/>
          </a:xfrm>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0144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Header Option 2">
    <p:spTree>
      <p:nvGrpSpPr>
        <p:cNvPr id="1" name=""/>
        <p:cNvGrpSpPr/>
        <p:nvPr/>
      </p:nvGrpSpPr>
      <p:grpSpPr>
        <a:xfrm>
          <a:off x="0" y="0"/>
          <a:ext cx="0" cy="0"/>
          <a:chOff x="0" y="0"/>
          <a:chExt cx="0" cy="0"/>
        </a:xfrm>
      </p:grpSpPr>
      <p:sp>
        <p:nvSpPr>
          <p:cNvPr id="41" name="Rectangle 40"/>
          <p:cNvSpPr/>
          <p:nvPr userDrawn="1"/>
        </p:nvSpPr>
        <p:spPr>
          <a:xfrm>
            <a:off x="0" y="0"/>
            <a:ext cx="1218895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grpSp>
        <p:nvGrpSpPr>
          <p:cNvPr id="3" name="Group 2"/>
          <p:cNvGrpSpPr/>
          <p:nvPr userDrawn="1"/>
        </p:nvGrpSpPr>
        <p:grpSpPr>
          <a:xfrm>
            <a:off x="-9845" y="-7221"/>
            <a:ext cx="12210731" cy="6884165"/>
            <a:chOff x="-9845" y="-7221"/>
            <a:chExt cx="12210731" cy="6884165"/>
          </a:xfrm>
        </p:grpSpPr>
        <p:sp>
          <p:nvSpPr>
            <p:cNvPr id="6" name="Freeform 5"/>
            <p:cNvSpPr/>
            <p:nvPr/>
          </p:nvSpPr>
          <p:spPr>
            <a:xfrm>
              <a:off x="-6314" y="3602940"/>
              <a:ext cx="3593122" cy="3267566"/>
            </a:xfrm>
            <a:custGeom>
              <a:avLst/>
              <a:gdLst>
                <a:gd name="connsiteX0" fmla="*/ 1392248 w 3580909"/>
                <a:gd name="connsiteY0" fmla="*/ 0 h 3209249"/>
                <a:gd name="connsiteX1" fmla="*/ 0 w 3580909"/>
                <a:gd name="connsiteY1" fmla="*/ 3209249 h 3209249"/>
                <a:gd name="connsiteX2" fmla="*/ 3580909 w 3580909"/>
                <a:gd name="connsiteY2" fmla="*/ 1215267 h 3209249"/>
                <a:gd name="connsiteX3" fmla="*/ 1392248 w 3580909"/>
                <a:gd name="connsiteY3" fmla="*/ 0 h 3209249"/>
                <a:gd name="connsiteX0" fmla="*/ 1406371 w 3595032"/>
                <a:gd name="connsiteY0" fmla="*/ 0 h 3209249"/>
                <a:gd name="connsiteX1" fmla="*/ 0 w 3595032"/>
                <a:gd name="connsiteY1" fmla="*/ 3209249 h 3209249"/>
                <a:gd name="connsiteX2" fmla="*/ 3595032 w 3595032"/>
                <a:gd name="connsiteY2" fmla="*/ 1215267 h 3209249"/>
                <a:gd name="connsiteX3" fmla="*/ 1406371 w 3595032"/>
                <a:gd name="connsiteY3" fmla="*/ 0 h 3209249"/>
                <a:gd name="connsiteX0" fmla="*/ 1399310 w 3587971"/>
                <a:gd name="connsiteY0" fmla="*/ 0 h 3209249"/>
                <a:gd name="connsiteX1" fmla="*/ 0 w 3587971"/>
                <a:gd name="connsiteY1" fmla="*/ 3209249 h 3209249"/>
                <a:gd name="connsiteX2" fmla="*/ 3587971 w 3587971"/>
                <a:gd name="connsiteY2" fmla="*/ 1215267 h 3209249"/>
                <a:gd name="connsiteX3" fmla="*/ 1399310 w 3587971"/>
                <a:gd name="connsiteY3" fmla="*/ 0 h 3209249"/>
                <a:gd name="connsiteX0" fmla="*/ 1399310 w 3587971"/>
                <a:gd name="connsiteY0" fmla="*/ 0 h 3252111"/>
                <a:gd name="connsiteX1" fmla="*/ 0 w 3587971"/>
                <a:gd name="connsiteY1" fmla="*/ 3252111 h 3252111"/>
                <a:gd name="connsiteX2" fmla="*/ 3587971 w 3587971"/>
                <a:gd name="connsiteY2" fmla="*/ 1258129 h 3252111"/>
                <a:gd name="connsiteX3" fmla="*/ 1399310 w 3587971"/>
                <a:gd name="connsiteY3" fmla="*/ 0 h 3252111"/>
                <a:gd name="connsiteX0" fmla="*/ 1396734 w 3585395"/>
                <a:gd name="connsiteY0" fmla="*/ 0 h 3264990"/>
                <a:gd name="connsiteX1" fmla="*/ 0 w 3585395"/>
                <a:gd name="connsiteY1" fmla="*/ 3264990 h 3264990"/>
                <a:gd name="connsiteX2" fmla="*/ 3585395 w 3585395"/>
                <a:gd name="connsiteY2" fmla="*/ 1258129 h 3264990"/>
                <a:gd name="connsiteX3" fmla="*/ 1396734 w 3585395"/>
                <a:gd name="connsiteY3" fmla="*/ 0 h 3264990"/>
                <a:gd name="connsiteX0" fmla="*/ 1404461 w 3593122"/>
                <a:gd name="connsiteY0" fmla="*/ 0 h 3267566"/>
                <a:gd name="connsiteX1" fmla="*/ 0 w 3593122"/>
                <a:gd name="connsiteY1" fmla="*/ 3267566 h 3267566"/>
                <a:gd name="connsiteX2" fmla="*/ 3593122 w 3593122"/>
                <a:gd name="connsiteY2" fmla="*/ 1258129 h 3267566"/>
                <a:gd name="connsiteX3" fmla="*/ 1404461 w 3593122"/>
                <a:gd name="connsiteY3" fmla="*/ 0 h 3267566"/>
              </a:gdLst>
              <a:ahLst/>
              <a:cxnLst>
                <a:cxn ang="0">
                  <a:pos x="connsiteX0" y="connsiteY0"/>
                </a:cxn>
                <a:cxn ang="0">
                  <a:pos x="connsiteX1" y="connsiteY1"/>
                </a:cxn>
                <a:cxn ang="0">
                  <a:pos x="connsiteX2" y="connsiteY2"/>
                </a:cxn>
                <a:cxn ang="0">
                  <a:pos x="connsiteX3" y="connsiteY3"/>
                </a:cxn>
              </a:cxnLst>
              <a:rect l="l" t="t" r="r" b="b"/>
              <a:pathLst>
                <a:path w="3593122" h="3267566">
                  <a:moveTo>
                    <a:pt x="1404461" y="0"/>
                  </a:moveTo>
                  <a:lnTo>
                    <a:pt x="0" y="3267566"/>
                  </a:lnTo>
                  <a:lnTo>
                    <a:pt x="3593122" y="1258129"/>
                  </a:lnTo>
                  <a:lnTo>
                    <a:pt x="1404461" y="0"/>
                  </a:lnTo>
                  <a:close/>
                </a:path>
              </a:pathLst>
            </a:custGeom>
            <a:gradFill>
              <a:gsLst>
                <a:gs pos="100000">
                  <a:schemeClr val="accent3"/>
                </a:gs>
                <a:gs pos="44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7" name="Freeform 6"/>
            <p:cNvSpPr/>
            <p:nvPr/>
          </p:nvSpPr>
          <p:spPr>
            <a:xfrm>
              <a:off x="1390330" y="1741468"/>
              <a:ext cx="2199979" cy="3164694"/>
            </a:xfrm>
            <a:custGeom>
              <a:avLst/>
              <a:gdLst>
                <a:gd name="connsiteX0" fmla="*/ 1739462 w 2186152"/>
                <a:gd name="connsiteY0" fmla="*/ 0 h 3095296"/>
                <a:gd name="connsiteX1" fmla="*/ 0 w 2186152"/>
                <a:gd name="connsiteY1" fmla="*/ 1891862 h 3095296"/>
                <a:gd name="connsiteX2" fmla="*/ 2186152 w 2186152"/>
                <a:gd name="connsiteY2" fmla="*/ 3095296 h 3095296"/>
                <a:gd name="connsiteX3" fmla="*/ 1739462 w 2186152"/>
                <a:gd name="connsiteY3" fmla="*/ 0 h 3095296"/>
                <a:gd name="connsiteX0" fmla="*/ 1733563 w 2186152"/>
                <a:gd name="connsiteY0" fmla="*/ 0 h 3112994"/>
                <a:gd name="connsiteX1" fmla="*/ 0 w 2186152"/>
                <a:gd name="connsiteY1" fmla="*/ 1909560 h 3112994"/>
                <a:gd name="connsiteX2" fmla="*/ 2186152 w 2186152"/>
                <a:gd name="connsiteY2" fmla="*/ 3112994 h 3112994"/>
                <a:gd name="connsiteX3" fmla="*/ 1733563 w 2186152"/>
                <a:gd name="connsiteY3" fmla="*/ 0 h 3112994"/>
                <a:gd name="connsiteX0" fmla="*/ 1752613 w 2186152"/>
                <a:gd name="connsiteY0" fmla="*/ 0 h 3108232"/>
                <a:gd name="connsiteX1" fmla="*/ 0 w 2186152"/>
                <a:gd name="connsiteY1" fmla="*/ 1904798 h 3108232"/>
                <a:gd name="connsiteX2" fmla="*/ 2186152 w 2186152"/>
                <a:gd name="connsiteY2" fmla="*/ 3108232 h 3108232"/>
                <a:gd name="connsiteX3" fmla="*/ 1752613 w 2186152"/>
                <a:gd name="connsiteY3" fmla="*/ 0 h 3108232"/>
                <a:gd name="connsiteX0" fmla="*/ 1738326 w 2186152"/>
                <a:gd name="connsiteY0" fmla="*/ 0 h 3108232"/>
                <a:gd name="connsiteX1" fmla="*/ 0 w 2186152"/>
                <a:gd name="connsiteY1" fmla="*/ 1904798 h 3108232"/>
                <a:gd name="connsiteX2" fmla="*/ 2186152 w 2186152"/>
                <a:gd name="connsiteY2" fmla="*/ 3108232 h 3108232"/>
                <a:gd name="connsiteX3" fmla="*/ 1738326 w 2186152"/>
                <a:gd name="connsiteY3" fmla="*/ 0 h 3108232"/>
                <a:gd name="connsiteX0" fmla="*/ 1724039 w 2186152"/>
                <a:gd name="connsiteY0" fmla="*/ 0 h 3089182"/>
                <a:gd name="connsiteX1" fmla="*/ 0 w 2186152"/>
                <a:gd name="connsiteY1" fmla="*/ 1885748 h 3089182"/>
                <a:gd name="connsiteX2" fmla="*/ 2186152 w 2186152"/>
                <a:gd name="connsiteY2" fmla="*/ 3089182 h 3089182"/>
                <a:gd name="connsiteX3" fmla="*/ 1724039 w 2186152"/>
                <a:gd name="connsiteY3" fmla="*/ 0 h 3089182"/>
                <a:gd name="connsiteX0" fmla="*/ 1743089 w 2205202"/>
                <a:gd name="connsiteY0" fmla="*/ 0 h 3089182"/>
                <a:gd name="connsiteX1" fmla="*/ 0 w 2205202"/>
                <a:gd name="connsiteY1" fmla="*/ 1861935 h 3089182"/>
                <a:gd name="connsiteX2" fmla="*/ 2205202 w 2205202"/>
                <a:gd name="connsiteY2" fmla="*/ 3089182 h 3089182"/>
                <a:gd name="connsiteX3" fmla="*/ 1743089 w 2205202"/>
                <a:gd name="connsiteY3" fmla="*/ 0 h 3089182"/>
                <a:gd name="connsiteX0" fmla="*/ 1733564 w 2205202"/>
                <a:gd name="connsiteY0" fmla="*/ 0 h 3079657"/>
                <a:gd name="connsiteX1" fmla="*/ 0 w 2205202"/>
                <a:gd name="connsiteY1" fmla="*/ 1852410 h 3079657"/>
                <a:gd name="connsiteX2" fmla="*/ 2205202 w 2205202"/>
                <a:gd name="connsiteY2" fmla="*/ 3079657 h 3079657"/>
                <a:gd name="connsiteX3" fmla="*/ 1733564 w 2205202"/>
                <a:gd name="connsiteY3" fmla="*/ 0 h 3079657"/>
                <a:gd name="connsiteX0" fmla="*/ 1695464 w 2167102"/>
                <a:gd name="connsiteY0" fmla="*/ 0 h 3079657"/>
                <a:gd name="connsiteX1" fmla="*/ 0 w 2167102"/>
                <a:gd name="connsiteY1" fmla="*/ 1871460 h 3079657"/>
                <a:gd name="connsiteX2" fmla="*/ 2167102 w 2167102"/>
                <a:gd name="connsiteY2" fmla="*/ 3079657 h 3079657"/>
                <a:gd name="connsiteX3" fmla="*/ 1695464 w 2167102"/>
                <a:gd name="connsiteY3" fmla="*/ 0 h 3079657"/>
                <a:gd name="connsiteX0" fmla="*/ 1724039 w 2195677"/>
                <a:gd name="connsiteY0" fmla="*/ 0 h 3079657"/>
                <a:gd name="connsiteX1" fmla="*/ 0 w 2195677"/>
                <a:gd name="connsiteY1" fmla="*/ 1866698 h 3079657"/>
                <a:gd name="connsiteX2" fmla="*/ 2195677 w 2195677"/>
                <a:gd name="connsiteY2" fmla="*/ 3079657 h 3079657"/>
                <a:gd name="connsiteX3" fmla="*/ 1724039 w 2195677"/>
                <a:gd name="connsiteY3" fmla="*/ 0 h 3079657"/>
                <a:gd name="connsiteX0" fmla="*/ 1746073 w 2195677"/>
                <a:gd name="connsiteY0" fmla="*/ 0 h 3079657"/>
                <a:gd name="connsiteX1" fmla="*/ 0 w 2195677"/>
                <a:gd name="connsiteY1" fmla="*/ 1866698 h 3079657"/>
                <a:gd name="connsiteX2" fmla="*/ 2195677 w 2195677"/>
                <a:gd name="connsiteY2" fmla="*/ 3079657 h 3079657"/>
                <a:gd name="connsiteX3" fmla="*/ 1746073 w 2195677"/>
                <a:gd name="connsiteY3" fmla="*/ 0 h 3079657"/>
                <a:gd name="connsiteX0" fmla="*/ 1714323 w 2195677"/>
                <a:gd name="connsiteY0" fmla="*/ 0 h 3098707"/>
                <a:gd name="connsiteX1" fmla="*/ 0 w 2195677"/>
                <a:gd name="connsiteY1" fmla="*/ 1885748 h 3098707"/>
                <a:gd name="connsiteX2" fmla="*/ 2195677 w 2195677"/>
                <a:gd name="connsiteY2" fmla="*/ 3098707 h 3098707"/>
                <a:gd name="connsiteX3" fmla="*/ 1714323 w 2195677"/>
                <a:gd name="connsiteY3" fmla="*/ 0 h 3098707"/>
                <a:gd name="connsiteX0" fmla="*/ 1720673 w 2195677"/>
                <a:gd name="connsiteY0" fmla="*/ 0 h 3092357"/>
                <a:gd name="connsiteX1" fmla="*/ 0 w 2195677"/>
                <a:gd name="connsiteY1" fmla="*/ 1879398 h 3092357"/>
                <a:gd name="connsiteX2" fmla="*/ 2195677 w 2195677"/>
                <a:gd name="connsiteY2" fmla="*/ 3092357 h 3092357"/>
                <a:gd name="connsiteX3" fmla="*/ 1720673 w 2195677"/>
                <a:gd name="connsiteY3" fmla="*/ 0 h 3092357"/>
                <a:gd name="connsiteX0" fmla="*/ 1739723 w 2195677"/>
                <a:gd name="connsiteY0" fmla="*/ 0 h 3086007"/>
                <a:gd name="connsiteX1" fmla="*/ 0 w 2195677"/>
                <a:gd name="connsiteY1" fmla="*/ 1873048 h 3086007"/>
                <a:gd name="connsiteX2" fmla="*/ 2195677 w 2195677"/>
                <a:gd name="connsiteY2" fmla="*/ 3086007 h 3086007"/>
                <a:gd name="connsiteX3" fmla="*/ 1739723 w 2195677"/>
                <a:gd name="connsiteY3" fmla="*/ 0 h 3086007"/>
                <a:gd name="connsiteX0" fmla="*/ 1720673 w 2195677"/>
                <a:gd name="connsiteY0" fmla="*/ 0 h 3155857"/>
                <a:gd name="connsiteX1" fmla="*/ 0 w 2195677"/>
                <a:gd name="connsiteY1" fmla="*/ 1942898 h 3155857"/>
                <a:gd name="connsiteX2" fmla="*/ 2195677 w 2195677"/>
                <a:gd name="connsiteY2" fmla="*/ 3155857 h 3155857"/>
                <a:gd name="connsiteX3" fmla="*/ 1720673 w 2195677"/>
                <a:gd name="connsiteY3" fmla="*/ 0 h 3155857"/>
                <a:gd name="connsiteX0" fmla="*/ 1720673 w 2195677"/>
                <a:gd name="connsiteY0" fmla="*/ 0 h 3079657"/>
                <a:gd name="connsiteX1" fmla="*/ 0 w 2195677"/>
                <a:gd name="connsiteY1" fmla="*/ 1866698 h 3079657"/>
                <a:gd name="connsiteX2" fmla="*/ 2195677 w 2195677"/>
                <a:gd name="connsiteY2" fmla="*/ 3079657 h 3079657"/>
                <a:gd name="connsiteX3" fmla="*/ 1720673 w 2195677"/>
                <a:gd name="connsiteY3" fmla="*/ 0 h 3079657"/>
                <a:gd name="connsiteX0" fmla="*/ 1720673 w 2195677"/>
                <a:gd name="connsiteY0" fmla="*/ 0 h 3149507"/>
                <a:gd name="connsiteX1" fmla="*/ 0 w 2195677"/>
                <a:gd name="connsiteY1" fmla="*/ 1936548 h 3149507"/>
                <a:gd name="connsiteX2" fmla="*/ 2195677 w 2195677"/>
                <a:gd name="connsiteY2" fmla="*/ 3149507 h 3149507"/>
                <a:gd name="connsiteX3" fmla="*/ 1720673 w 219567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39723 w 2214727"/>
                <a:gd name="connsiteY0" fmla="*/ 0 h 3149507"/>
                <a:gd name="connsiteX1" fmla="*/ 0 w 2214727"/>
                <a:gd name="connsiteY1" fmla="*/ 1936548 h 3149507"/>
                <a:gd name="connsiteX2" fmla="*/ 2214727 w 2214727"/>
                <a:gd name="connsiteY2" fmla="*/ 3149507 h 3149507"/>
                <a:gd name="connsiteX3" fmla="*/ 1739723 w 2214727"/>
                <a:gd name="connsiteY3" fmla="*/ 0 h 3149507"/>
                <a:gd name="connsiteX0" fmla="*/ 1724975 w 2199979"/>
                <a:gd name="connsiteY0" fmla="*/ 0 h 3149507"/>
                <a:gd name="connsiteX1" fmla="*/ 0 w 2199979"/>
                <a:gd name="connsiteY1" fmla="*/ 1921800 h 3149507"/>
                <a:gd name="connsiteX2" fmla="*/ 2199979 w 2199979"/>
                <a:gd name="connsiteY2" fmla="*/ 3149507 h 3149507"/>
                <a:gd name="connsiteX3" fmla="*/ 1724975 w 2199979"/>
                <a:gd name="connsiteY3" fmla="*/ 0 h 3149507"/>
                <a:gd name="connsiteX0" fmla="*/ 1722399 w 2199979"/>
                <a:gd name="connsiteY0" fmla="*/ 0 h 3072234"/>
                <a:gd name="connsiteX1" fmla="*/ 0 w 2199979"/>
                <a:gd name="connsiteY1" fmla="*/ 1844527 h 3072234"/>
                <a:gd name="connsiteX2" fmla="*/ 2199979 w 2199979"/>
                <a:gd name="connsiteY2" fmla="*/ 3072234 h 3072234"/>
                <a:gd name="connsiteX3" fmla="*/ 1722399 w 2199979"/>
                <a:gd name="connsiteY3" fmla="*/ 0 h 3072234"/>
                <a:gd name="connsiteX0" fmla="*/ 1722399 w 2199979"/>
                <a:gd name="connsiteY0" fmla="*/ 0 h 3123750"/>
                <a:gd name="connsiteX1" fmla="*/ 0 w 2199979"/>
                <a:gd name="connsiteY1" fmla="*/ 1896043 h 3123750"/>
                <a:gd name="connsiteX2" fmla="*/ 2199979 w 2199979"/>
                <a:gd name="connsiteY2" fmla="*/ 3123750 h 3123750"/>
                <a:gd name="connsiteX3" fmla="*/ 1722399 w 2199979"/>
                <a:gd name="connsiteY3" fmla="*/ 0 h 3123750"/>
                <a:gd name="connsiteX0" fmla="*/ 1736047 w 2199979"/>
                <a:gd name="connsiteY0" fmla="*/ 0 h 3164694"/>
                <a:gd name="connsiteX1" fmla="*/ 0 w 2199979"/>
                <a:gd name="connsiteY1" fmla="*/ 1936987 h 3164694"/>
                <a:gd name="connsiteX2" fmla="*/ 2199979 w 2199979"/>
                <a:gd name="connsiteY2" fmla="*/ 3164694 h 3164694"/>
                <a:gd name="connsiteX3" fmla="*/ 1736047 w 2199979"/>
                <a:gd name="connsiteY3" fmla="*/ 0 h 3164694"/>
              </a:gdLst>
              <a:ahLst/>
              <a:cxnLst>
                <a:cxn ang="0">
                  <a:pos x="connsiteX0" y="connsiteY0"/>
                </a:cxn>
                <a:cxn ang="0">
                  <a:pos x="connsiteX1" y="connsiteY1"/>
                </a:cxn>
                <a:cxn ang="0">
                  <a:pos x="connsiteX2" y="connsiteY2"/>
                </a:cxn>
                <a:cxn ang="0">
                  <a:pos x="connsiteX3" y="connsiteY3"/>
                </a:cxn>
              </a:cxnLst>
              <a:rect l="l" t="t" r="r" b="b"/>
              <a:pathLst>
                <a:path w="2199979" h="3164694">
                  <a:moveTo>
                    <a:pt x="1736047" y="0"/>
                  </a:moveTo>
                  <a:lnTo>
                    <a:pt x="0" y="1936987"/>
                  </a:lnTo>
                  <a:lnTo>
                    <a:pt x="2199979" y="3164694"/>
                  </a:lnTo>
                  <a:lnTo>
                    <a:pt x="1736047" y="0"/>
                  </a:lnTo>
                  <a:close/>
                </a:path>
              </a:pathLst>
            </a:custGeom>
            <a:gradFill>
              <a:gsLst>
                <a:gs pos="100000">
                  <a:schemeClr val="accent3"/>
                </a:gs>
                <a:gs pos="44000">
                  <a:schemeClr val="accent2"/>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8" name="Freeform 7"/>
            <p:cNvSpPr/>
            <p:nvPr/>
          </p:nvSpPr>
          <p:spPr>
            <a:xfrm>
              <a:off x="6375805" y="1"/>
              <a:ext cx="4644129" cy="1222744"/>
            </a:xfrm>
            <a:custGeom>
              <a:avLst/>
              <a:gdLst>
                <a:gd name="connsiteX0" fmla="*/ 0 w 4550735"/>
                <a:gd name="connsiteY0" fmla="*/ 0 h 1222745"/>
                <a:gd name="connsiteX1" fmla="*/ 1222744 w 4550735"/>
                <a:gd name="connsiteY1" fmla="*/ 1222745 h 1222745"/>
                <a:gd name="connsiteX2" fmla="*/ 4550735 w 4550735"/>
                <a:gd name="connsiteY2" fmla="*/ 10633 h 1222745"/>
                <a:gd name="connsiteX3" fmla="*/ 0 w 4550735"/>
                <a:gd name="connsiteY3" fmla="*/ 0 h 1222745"/>
                <a:gd name="connsiteX0" fmla="*/ 0 w 4582633"/>
                <a:gd name="connsiteY0" fmla="*/ 10633 h 1212112"/>
                <a:gd name="connsiteX1" fmla="*/ 1254642 w 4582633"/>
                <a:gd name="connsiteY1" fmla="*/ 1212112 h 1212112"/>
                <a:gd name="connsiteX2" fmla="*/ 4582633 w 4582633"/>
                <a:gd name="connsiteY2" fmla="*/ 0 h 1212112"/>
                <a:gd name="connsiteX3" fmla="*/ 0 w 4582633"/>
                <a:gd name="connsiteY3" fmla="*/ 10633 h 1212112"/>
                <a:gd name="connsiteX0" fmla="*/ 0 w 4566685"/>
                <a:gd name="connsiteY0" fmla="*/ 0 h 1228061"/>
                <a:gd name="connsiteX1" fmla="*/ 1238694 w 4566685"/>
                <a:gd name="connsiteY1" fmla="*/ 1228061 h 1228061"/>
                <a:gd name="connsiteX2" fmla="*/ 4566685 w 4566685"/>
                <a:gd name="connsiteY2" fmla="*/ 15949 h 1228061"/>
                <a:gd name="connsiteX3" fmla="*/ 0 w 4566685"/>
                <a:gd name="connsiteY3" fmla="*/ 0 h 1228061"/>
                <a:gd name="connsiteX0" fmla="*/ 0 w 4566685"/>
                <a:gd name="connsiteY0" fmla="*/ 0 h 1217428"/>
                <a:gd name="connsiteX1" fmla="*/ 1238694 w 4566685"/>
                <a:gd name="connsiteY1" fmla="*/ 1217428 h 1217428"/>
                <a:gd name="connsiteX2" fmla="*/ 4566685 w 4566685"/>
                <a:gd name="connsiteY2" fmla="*/ 5316 h 1217428"/>
                <a:gd name="connsiteX3" fmla="*/ 0 w 4566685"/>
                <a:gd name="connsiteY3" fmla="*/ 0 h 1217428"/>
                <a:gd name="connsiteX0" fmla="*/ 0 w 4614532"/>
                <a:gd name="connsiteY0" fmla="*/ 0 h 1217428"/>
                <a:gd name="connsiteX1" fmla="*/ 1238694 w 4614532"/>
                <a:gd name="connsiteY1" fmla="*/ 1217428 h 1217428"/>
                <a:gd name="connsiteX2" fmla="*/ 4614532 w 4614532"/>
                <a:gd name="connsiteY2" fmla="*/ 5316 h 1217428"/>
                <a:gd name="connsiteX3" fmla="*/ 0 w 4614532"/>
                <a:gd name="connsiteY3" fmla="*/ 0 h 1217428"/>
                <a:gd name="connsiteX0" fmla="*/ 0 w 4614532"/>
                <a:gd name="connsiteY0" fmla="*/ 0 h 1228060"/>
                <a:gd name="connsiteX1" fmla="*/ 1286541 w 4614532"/>
                <a:gd name="connsiteY1" fmla="*/ 1228060 h 1228060"/>
                <a:gd name="connsiteX2" fmla="*/ 4614532 w 4614532"/>
                <a:gd name="connsiteY2" fmla="*/ 5316 h 1228060"/>
                <a:gd name="connsiteX3" fmla="*/ 0 w 4614532"/>
                <a:gd name="connsiteY3" fmla="*/ 0 h 1228060"/>
                <a:gd name="connsiteX0" fmla="*/ 0 w 4614532"/>
                <a:gd name="connsiteY0" fmla="*/ 10633 h 1222744"/>
                <a:gd name="connsiteX1" fmla="*/ 1286541 w 4614532"/>
                <a:gd name="connsiteY1" fmla="*/ 1222744 h 1222744"/>
                <a:gd name="connsiteX2" fmla="*/ 4614532 w 4614532"/>
                <a:gd name="connsiteY2" fmla="*/ 0 h 1222744"/>
                <a:gd name="connsiteX3" fmla="*/ 0 w 4614532"/>
                <a:gd name="connsiteY3" fmla="*/ 10633 h 1222744"/>
                <a:gd name="connsiteX0" fmla="*/ 0 w 4614532"/>
                <a:gd name="connsiteY0" fmla="*/ 10633 h 1201479"/>
                <a:gd name="connsiteX1" fmla="*/ 1238695 w 4614532"/>
                <a:gd name="connsiteY1" fmla="*/ 1201479 h 1201479"/>
                <a:gd name="connsiteX2" fmla="*/ 4614532 w 4614532"/>
                <a:gd name="connsiteY2" fmla="*/ 0 h 1201479"/>
                <a:gd name="connsiteX3" fmla="*/ 0 w 4614532"/>
                <a:gd name="connsiteY3" fmla="*/ 10633 h 1201479"/>
                <a:gd name="connsiteX0" fmla="*/ 0 w 4614532"/>
                <a:gd name="connsiteY0" fmla="*/ 10633 h 1222744"/>
                <a:gd name="connsiteX1" fmla="*/ 1249328 w 4614532"/>
                <a:gd name="connsiteY1" fmla="*/ 1222744 h 1222744"/>
                <a:gd name="connsiteX2" fmla="*/ 4614532 w 4614532"/>
                <a:gd name="connsiteY2" fmla="*/ 0 h 1222744"/>
                <a:gd name="connsiteX3" fmla="*/ 0 w 4614532"/>
                <a:gd name="connsiteY3" fmla="*/ 10633 h 1222744"/>
                <a:gd name="connsiteX0" fmla="*/ 0 w 4614532"/>
                <a:gd name="connsiteY0" fmla="*/ 0 h 1222744"/>
                <a:gd name="connsiteX1" fmla="*/ 1249328 w 4614532"/>
                <a:gd name="connsiteY1" fmla="*/ 1222744 h 1222744"/>
                <a:gd name="connsiteX2" fmla="*/ 4614532 w 4614532"/>
                <a:gd name="connsiteY2" fmla="*/ 0 h 1222744"/>
                <a:gd name="connsiteX3" fmla="*/ 0 w 4614532"/>
                <a:gd name="connsiteY3" fmla="*/ 0 h 1222744"/>
                <a:gd name="connsiteX0" fmla="*/ 0 w 4630481"/>
                <a:gd name="connsiteY0" fmla="*/ 0 h 1222744"/>
                <a:gd name="connsiteX1" fmla="*/ 1249328 w 4630481"/>
                <a:gd name="connsiteY1" fmla="*/ 1222744 h 1222744"/>
                <a:gd name="connsiteX2" fmla="*/ 4630481 w 4630481"/>
                <a:gd name="connsiteY2" fmla="*/ 0 h 1222744"/>
                <a:gd name="connsiteX3" fmla="*/ 0 w 4630481"/>
                <a:gd name="connsiteY3" fmla="*/ 0 h 1222744"/>
                <a:gd name="connsiteX0" fmla="*/ 0 w 4671425"/>
                <a:gd name="connsiteY0" fmla="*/ 0 h 1222744"/>
                <a:gd name="connsiteX1" fmla="*/ 1290272 w 4671425"/>
                <a:gd name="connsiteY1" fmla="*/ 1222744 h 1222744"/>
                <a:gd name="connsiteX2" fmla="*/ 4671425 w 4671425"/>
                <a:gd name="connsiteY2" fmla="*/ 0 h 1222744"/>
                <a:gd name="connsiteX3" fmla="*/ 0 w 4671425"/>
                <a:gd name="connsiteY3" fmla="*/ 0 h 1222744"/>
                <a:gd name="connsiteX0" fmla="*/ 0 w 4671425"/>
                <a:gd name="connsiteY0" fmla="*/ 0 h 1222744"/>
                <a:gd name="connsiteX1" fmla="*/ 1290272 w 4671425"/>
                <a:gd name="connsiteY1" fmla="*/ 1222744 h 1222744"/>
                <a:gd name="connsiteX2" fmla="*/ 4671425 w 4671425"/>
                <a:gd name="connsiteY2" fmla="*/ 614149 h 1222744"/>
                <a:gd name="connsiteX3" fmla="*/ 0 w 4671425"/>
                <a:gd name="connsiteY3" fmla="*/ 0 h 1222744"/>
                <a:gd name="connsiteX0" fmla="*/ 0 w 4657777"/>
                <a:gd name="connsiteY0" fmla="*/ 13648 h 1236392"/>
                <a:gd name="connsiteX1" fmla="*/ 1290272 w 4657777"/>
                <a:gd name="connsiteY1" fmla="*/ 1236392 h 1236392"/>
                <a:gd name="connsiteX2" fmla="*/ 4657777 w 4657777"/>
                <a:gd name="connsiteY2" fmla="*/ 0 h 1236392"/>
                <a:gd name="connsiteX3" fmla="*/ 0 w 4657777"/>
                <a:gd name="connsiteY3" fmla="*/ 13648 h 1236392"/>
                <a:gd name="connsiteX0" fmla="*/ 0 w 4644129"/>
                <a:gd name="connsiteY0" fmla="*/ 0 h 1222744"/>
                <a:gd name="connsiteX1" fmla="*/ 1290272 w 4644129"/>
                <a:gd name="connsiteY1" fmla="*/ 1222744 h 1222744"/>
                <a:gd name="connsiteX2" fmla="*/ 4644129 w 4644129"/>
                <a:gd name="connsiteY2" fmla="*/ 0 h 1222744"/>
                <a:gd name="connsiteX3" fmla="*/ 0 w 4644129"/>
                <a:gd name="connsiteY3" fmla="*/ 0 h 1222744"/>
              </a:gdLst>
              <a:ahLst/>
              <a:cxnLst>
                <a:cxn ang="0">
                  <a:pos x="connsiteX0" y="connsiteY0"/>
                </a:cxn>
                <a:cxn ang="0">
                  <a:pos x="connsiteX1" y="connsiteY1"/>
                </a:cxn>
                <a:cxn ang="0">
                  <a:pos x="connsiteX2" y="connsiteY2"/>
                </a:cxn>
                <a:cxn ang="0">
                  <a:pos x="connsiteX3" y="connsiteY3"/>
                </a:cxn>
              </a:cxnLst>
              <a:rect l="l" t="t" r="r" b="b"/>
              <a:pathLst>
                <a:path w="4644129" h="1222744">
                  <a:moveTo>
                    <a:pt x="0" y="0"/>
                  </a:moveTo>
                  <a:lnTo>
                    <a:pt x="1290272" y="1222744"/>
                  </a:lnTo>
                  <a:lnTo>
                    <a:pt x="4644129" y="0"/>
                  </a:lnTo>
                  <a:lnTo>
                    <a:pt x="0" y="0"/>
                  </a:lnTo>
                  <a:close/>
                </a:path>
              </a:pathLst>
            </a:custGeom>
            <a:gradFill>
              <a:gsLst>
                <a:gs pos="100000">
                  <a:schemeClr val="accent3"/>
                </a:gs>
                <a:gs pos="35000">
                  <a:schemeClr val="accent2"/>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9" name="Freeform 8"/>
            <p:cNvSpPr/>
            <p:nvPr/>
          </p:nvSpPr>
          <p:spPr>
            <a:xfrm>
              <a:off x="4052439" y="2989173"/>
              <a:ext cx="3708351" cy="2971471"/>
            </a:xfrm>
            <a:custGeom>
              <a:avLst/>
              <a:gdLst>
                <a:gd name="connsiteX0" fmla="*/ 2291255 w 3641834"/>
                <a:gd name="connsiteY0" fmla="*/ 0 h 2958662"/>
                <a:gd name="connsiteX1" fmla="*/ 3641834 w 3641834"/>
                <a:gd name="connsiteY1" fmla="*/ 1692165 h 2958662"/>
                <a:gd name="connsiteX2" fmla="*/ 0 w 3641834"/>
                <a:gd name="connsiteY2" fmla="*/ 2958662 h 2958662"/>
                <a:gd name="connsiteX3" fmla="*/ 2291255 w 3641834"/>
                <a:gd name="connsiteY3" fmla="*/ 0 h 2958662"/>
                <a:gd name="connsiteX0" fmla="*/ 2291255 w 3641834"/>
                <a:gd name="connsiteY0" fmla="*/ 0 h 2963917"/>
                <a:gd name="connsiteX1" fmla="*/ 3641834 w 3641834"/>
                <a:gd name="connsiteY1" fmla="*/ 1697420 h 2963917"/>
                <a:gd name="connsiteX2" fmla="*/ 0 w 3641834"/>
                <a:gd name="connsiteY2" fmla="*/ 2963917 h 2963917"/>
                <a:gd name="connsiteX3" fmla="*/ 2291255 w 3641834"/>
                <a:gd name="connsiteY3" fmla="*/ 0 h 2963917"/>
                <a:gd name="connsiteX0" fmla="*/ 2301765 w 3641834"/>
                <a:gd name="connsiteY0" fmla="*/ 0 h 2948152"/>
                <a:gd name="connsiteX1" fmla="*/ 3641834 w 3641834"/>
                <a:gd name="connsiteY1" fmla="*/ 1681655 h 2948152"/>
                <a:gd name="connsiteX2" fmla="*/ 0 w 3641834"/>
                <a:gd name="connsiteY2" fmla="*/ 2948152 h 2948152"/>
                <a:gd name="connsiteX3" fmla="*/ 2301765 w 3641834"/>
                <a:gd name="connsiteY3" fmla="*/ 0 h 2948152"/>
                <a:gd name="connsiteX0" fmla="*/ 2293452 w 3641834"/>
                <a:gd name="connsiteY0" fmla="*/ 0 h 2948152"/>
                <a:gd name="connsiteX1" fmla="*/ 3641834 w 3641834"/>
                <a:gd name="connsiteY1" fmla="*/ 1681655 h 2948152"/>
                <a:gd name="connsiteX2" fmla="*/ 0 w 3641834"/>
                <a:gd name="connsiteY2" fmla="*/ 2948152 h 2948152"/>
                <a:gd name="connsiteX3" fmla="*/ 2293452 w 3641834"/>
                <a:gd name="connsiteY3" fmla="*/ 0 h 2948152"/>
                <a:gd name="connsiteX0" fmla="*/ 2305379 w 3653761"/>
                <a:gd name="connsiteY0" fmla="*/ 0 h 2944176"/>
                <a:gd name="connsiteX1" fmla="*/ 3653761 w 3653761"/>
                <a:gd name="connsiteY1" fmla="*/ 1681655 h 2944176"/>
                <a:gd name="connsiteX2" fmla="*/ 0 w 3653761"/>
                <a:gd name="connsiteY2" fmla="*/ 2944176 h 2944176"/>
                <a:gd name="connsiteX3" fmla="*/ 2305379 w 3653761"/>
                <a:gd name="connsiteY3" fmla="*/ 0 h 2944176"/>
                <a:gd name="connsiteX0" fmla="*/ 2291731 w 3653761"/>
                <a:gd name="connsiteY0" fmla="*/ 0 h 2944176"/>
                <a:gd name="connsiteX1" fmla="*/ 3653761 w 3653761"/>
                <a:gd name="connsiteY1" fmla="*/ 1681655 h 2944176"/>
                <a:gd name="connsiteX2" fmla="*/ 0 w 3653761"/>
                <a:gd name="connsiteY2" fmla="*/ 2944176 h 2944176"/>
                <a:gd name="connsiteX3" fmla="*/ 2291731 w 3653761"/>
                <a:gd name="connsiteY3" fmla="*/ 0 h 2944176"/>
                <a:gd name="connsiteX0" fmla="*/ 2305378 w 3653761"/>
                <a:gd name="connsiteY0" fmla="*/ 0 h 2971471"/>
                <a:gd name="connsiteX1" fmla="*/ 3653761 w 3653761"/>
                <a:gd name="connsiteY1" fmla="*/ 1708950 h 2971471"/>
                <a:gd name="connsiteX2" fmla="*/ 0 w 3653761"/>
                <a:gd name="connsiteY2" fmla="*/ 2971471 h 2971471"/>
                <a:gd name="connsiteX3" fmla="*/ 2305378 w 3653761"/>
                <a:gd name="connsiteY3" fmla="*/ 0 h 2971471"/>
                <a:gd name="connsiteX0" fmla="*/ 2305378 w 3694704"/>
                <a:gd name="connsiteY0" fmla="*/ 0 h 2971471"/>
                <a:gd name="connsiteX1" fmla="*/ 3694704 w 3694704"/>
                <a:gd name="connsiteY1" fmla="*/ 1722598 h 2971471"/>
                <a:gd name="connsiteX2" fmla="*/ 0 w 3694704"/>
                <a:gd name="connsiteY2" fmla="*/ 2971471 h 2971471"/>
                <a:gd name="connsiteX3" fmla="*/ 2305378 w 3694704"/>
                <a:gd name="connsiteY3" fmla="*/ 0 h 2971471"/>
                <a:gd name="connsiteX0" fmla="*/ 2319025 w 3708351"/>
                <a:gd name="connsiteY0" fmla="*/ 0 h 2971471"/>
                <a:gd name="connsiteX1" fmla="*/ 3708351 w 3708351"/>
                <a:gd name="connsiteY1" fmla="*/ 1722598 h 2971471"/>
                <a:gd name="connsiteX2" fmla="*/ 0 w 3708351"/>
                <a:gd name="connsiteY2" fmla="*/ 2971471 h 2971471"/>
                <a:gd name="connsiteX3" fmla="*/ 2319025 w 3708351"/>
                <a:gd name="connsiteY3" fmla="*/ 0 h 2971471"/>
              </a:gdLst>
              <a:ahLst/>
              <a:cxnLst>
                <a:cxn ang="0">
                  <a:pos x="connsiteX0" y="connsiteY0"/>
                </a:cxn>
                <a:cxn ang="0">
                  <a:pos x="connsiteX1" y="connsiteY1"/>
                </a:cxn>
                <a:cxn ang="0">
                  <a:pos x="connsiteX2" y="connsiteY2"/>
                </a:cxn>
                <a:cxn ang="0">
                  <a:pos x="connsiteX3" y="connsiteY3"/>
                </a:cxn>
              </a:cxnLst>
              <a:rect l="l" t="t" r="r" b="b"/>
              <a:pathLst>
                <a:path w="3708351" h="2971471">
                  <a:moveTo>
                    <a:pt x="2319025" y="0"/>
                  </a:moveTo>
                  <a:lnTo>
                    <a:pt x="3708351" y="1722598"/>
                  </a:lnTo>
                  <a:lnTo>
                    <a:pt x="0" y="2971471"/>
                  </a:lnTo>
                  <a:lnTo>
                    <a:pt x="2319025" y="0"/>
                  </a:lnTo>
                  <a:close/>
                </a:path>
              </a:pathLst>
            </a:custGeom>
            <a:gradFill>
              <a:gsLst>
                <a:gs pos="100000">
                  <a:schemeClr val="accent3"/>
                </a:gs>
                <a:gs pos="44000">
                  <a:schemeClr val="accent2"/>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0" name="Freeform 9"/>
            <p:cNvSpPr/>
            <p:nvPr/>
          </p:nvSpPr>
          <p:spPr>
            <a:xfrm>
              <a:off x="-3085" y="0"/>
              <a:ext cx="3366670" cy="1804474"/>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346198"/>
                <a:gd name="connsiteY0" fmla="*/ 0 h 1771137"/>
                <a:gd name="connsiteX1" fmla="*/ 3346198 w 3346198"/>
                <a:gd name="connsiteY1" fmla="*/ 3282 h 1771137"/>
                <a:gd name="connsiteX2" fmla="*/ 3153403 w 3346198"/>
                <a:gd name="connsiteY2" fmla="*/ 1771137 h 1771137"/>
                <a:gd name="connsiteX3" fmla="*/ 0 w 3346198"/>
                <a:gd name="connsiteY3" fmla="*/ 0 h 1771137"/>
                <a:gd name="connsiteX0" fmla="*/ 0 w 3346198"/>
                <a:gd name="connsiteY0" fmla="*/ 0 h 1766374"/>
                <a:gd name="connsiteX1" fmla="*/ 3346198 w 3346198"/>
                <a:gd name="connsiteY1" fmla="*/ 3282 h 1766374"/>
                <a:gd name="connsiteX2" fmla="*/ 3110540 w 3346198"/>
                <a:gd name="connsiteY2" fmla="*/ 1766374 h 1766374"/>
                <a:gd name="connsiteX3" fmla="*/ 0 w 3346198"/>
                <a:gd name="connsiteY3" fmla="*/ 0 h 1766374"/>
                <a:gd name="connsiteX0" fmla="*/ 0 w 3346198"/>
                <a:gd name="connsiteY0" fmla="*/ 0 h 1780662"/>
                <a:gd name="connsiteX1" fmla="*/ 3346198 w 3346198"/>
                <a:gd name="connsiteY1" fmla="*/ 3282 h 1780662"/>
                <a:gd name="connsiteX2" fmla="*/ 3091490 w 3346198"/>
                <a:gd name="connsiteY2" fmla="*/ 1780662 h 1780662"/>
                <a:gd name="connsiteX3" fmla="*/ 0 w 3346198"/>
                <a:gd name="connsiteY3" fmla="*/ 0 h 1780662"/>
                <a:gd name="connsiteX0" fmla="*/ 0 w 3346198"/>
                <a:gd name="connsiteY0" fmla="*/ 0 h 1804474"/>
                <a:gd name="connsiteX1" fmla="*/ 3346198 w 3346198"/>
                <a:gd name="connsiteY1" fmla="*/ 3282 h 1804474"/>
                <a:gd name="connsiteX2" fmla="*/ 3115303 w 3346198"/>
                <a:gd name="connsiteY2" fmla="*/ 1804474 h 1804474"/>
                <a:gd name="connsiteX3" fmla="*/ 0 w 3346198"/>
                <a:gd name="connsiteY3" fmla="*/ 0 h 1804474"/>
                <a:gd name="connsiteX0" fmla="*/ 0 w 3346198"/>
                <a:gd name="connsiteY0" fmla="*/ 10366 h 1801192"/>
                <a:gd name="connsiteX1" fmla="*/ 3346198 w 3346198"/>
                <a:gd name="connsiteY1" fmla="*/ 0 h 1801192"/>
                <a:gd name="connsiteX2" fmla="*/ 3115303 w 3346198"/>
                <a:gd name="connsiteY2" fmla="*/ 1801192 h 1801192"/>
                <a:gd name="connsiteX3" fmla="*/ 0 w 3346198"/>
                <a:gd name="connsiteY3" fmla="*/ 10366 h 1801192"/>
                <a:gd name="connsiteX0" fmla="*/ 0 w 3366670"/>
                <a:gd name="connsiteY0" fmla="*/ 0 h 1818122"/>
                <a:gd name="connsiteX1" fmla="*/ 3366670 w 3366670"/>
                <a:gd name="connsiteY1" fmla="*/ 16930 h 1818122"/>
                <a:gd name="connsiteX2" fmla="*/ 3135775 w 3366670"/>
                <a:gd name="connsiteY2" fmla="*/ 1818122 h 1818122"/>
                <a:gd name="connsiteX3" fmla="*/ 0 w 3366670"/>
                <a:gd name="connsiteY3" fmla="*/ 0 h 1818122"/>
                <a:gd name="connsiteX0" fmla="*/ 0 w 3363258"/>
                <a:gd name="connsiteY0" fmla="*/ 0 h 1811298"/>
                <a:gd name="connsiteX1" fmla="*/ 3363258 w 3363258"/>
                <a:gd name="connsiteY1" fmla="*/ 10106 h 1811298"/>
                <a:gd name="connsiteX2" fmla="*/ 3132363 w 3363258"/>
                <a:gd name="connsiteY2" fmla="*/ 1811298 h 1811298"/>
                <a:gd name="connsiteX3" fmla="*/ 0 w 3363258"/>
                <a:gd name="connsiteY3" fmla="*/ 0 h 1811298"/>
                <a:gd name="connsiteX0" fmla="*/ 0 w 3363258"/>
                <a:gd name="connsiteY0" fmla="*/ 0 h 1807886"/>
                <a:gd name="connsiteX1" fmla="*/ 3363258 w 3363258"/>
                <a:gd name="connsiteY1" fmla="*/ 6694 h 1807886"/>
                <a:gd name="connsiteX2" fmla="*/ 3132363 w 3363258"/>
                <a:gd name="connsiteY2" fmla="*/ 1807886 h 1807886"/>
                <a:gd name="connsiteX3" fmla="*/ 0 w 3363258"/>
                <a:gd name="connsiteY3" fmla="*/ 0 h 1807886"/>
                <a:gd name="connsiteX0" fmla="*/ 0 w 3363258"/>
                <a:gd name="connsiteY0" fmla="*/ 3542 h 1801192"/>
                <a:gd name="connsiteX1" fmla="*/ 3363258 w 3363258"/>
                <a:gd name="connsiteY1" fmla="*/ 0 h 1801192"/>
                <a:gd name="connsiteX2" fmla="*/ 3132363 w 3363258"/>
                <a:gd name="connsiteY2" fmla="*/ 1801192 h 1801192"/>
                <a:gd name="connsiteX3" fmla="*/ 0 w 3363258"/>
                <a:gd name="connsiteY3" fmla="*/ 3542 h 1801192"/>
                <a:gd name="connsiteX0" fmla="*/ 0 w 3366670"/>
                <a:gd name="connsiteY0" fmla="*/ 0 h 1804474"/>
                <a:gd name="connsiteX1" fmla="*/ 3366670 w 3366670"/>
                <a:gd name="connsiteY1" fmla="*/ 3282 h 1804474"/>
                <a:gd name="connsiteX2" fmla="*/ 3135775 w 3366670"/>
                <a:gd name="connsiteY2" fmla="*/ 1804474 h 1804474"/>
                <a:gd name="connsiteX3" fmla="*/ 0 w 3366670"/>
                <a:gd name="connsiteY3" fmla="*/ 0 h 1804474"/>
              </a:gdLst>
              <a:ahLst/>
              <a:cxnLst>
                <a:cxn ang="0">
                  <a:pos x="connsiteX0" y="connsiteY0"/>
                </a:cxn>
                <a:cxn ang="0">
                  <a:pos x="connsiteX1" y="connsiteY1"/>
                </a:cxn>
                <a:cxn ang="0">
                  <a:pos x="connsiteX2" y="connsiteY2"/>
                </a:cxn>
                <a:cxn ang="0">
                  <a:pos x="connsiteX3" y="connsiteY3"/>
                </a:cxn>
              </a:cxnLst>
              <a:rect l="l" t="t" r="r" b="b"/>
              <a:pathLst>
                <a:path w="3366670" h="1804474">
                  <a:moveTo>
                    <a:pt x="0" y="0"/>
                  </a:moveTo>
                  <a:lnTo>
                    <a:pt x="3366670" y="3282"/>
                  </a:lnTo>
                  <a:lnTo>
                    <a:pt x="3135775" y="1804474"/>
                  </a:lnTo>
                  <a:lnTo>
                    <a:pt x="0" y="0"/>
                  </a:lnTo>
                  <a:close/>
                </a:path>
              </a:pathLst>
            </a:custGeom>
            <a:gradFill>
              <a:gsLst>
                <a:gs pos="100000">
                  <a:schemeClr val="accent3"/>
                </a:gs>
                <a:gs pos="39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1" name="Freeform 10"/>
            <p:cNvSpPr/>
            <p:nvPr/>
          </p:nvSpPr>
          <p:spPr>
            <a:xfrm>
              <a:off x="3111696" y="1778988"/>
              <a:ext cx="3269644" cy="3085357"/>
            </a:xfrm>
            <a:custGeom>
              <a:avLst/>
              <a:gdLst>
                <a:gd name="connsiteX0" fmla="*/ 0 w 3237186"/>
                <a:gd name="connsiteY0" fmla="*/ 0 h 3095296"/>
                <a:gd name="connsiteX1" fmla="*/ 441434 w 3237186"/>
                <a:gd name="connsiteY1" fmla="*/ 3095296 h 3095296"/>
                <a:gd name="connsiteX2" fmla="*/ 3237186 w 3237186"/>
                <a:gd name="connsiteY2" fmla="*/ 1255986 h 3095296"/>
                <a:gd name="connsiteX3" fmla="*/ 0 w 3237186"/>
                <a:gd name="connsiteY3" fmla="*/ 0 h 3095296"/>
                <a:gd name="connsiteX0" fmla="*/ 0 w 3237186"/>
                <a:gd name="connsiteY0" fmla="*/ 0 h 3109584"/>
                <a:gd name="connsiteX1" fmla="*/ 441434 w 3237186"/>
                <a:gd name="connsiteY1" fmla="*/ 3109584 h 3109584"/>
                <a:gd name="connsiteX2" fmla="*/ 3237186 w 3237186"/>
                <a:gd name="connsiteY2" fmla="*/ 1270274 h 3109584"/>
                <a:gd name="connsiteX3" fmla="*/ 0 w 3237186"/>
                <a:gd name="connsiteY3" fmla="*/ 0 h 3109584"/>
                <a:gd name="connsiteX0" fmla="*/ 0 w 3237186"/>
                <a:gd name="connsiteY0" fmla="*/ 0 h 3085764"/>
                <a:gd name="connsiteX1" fmla="*/ 441434 w 3237186"/>
                <a:gd name="connsiteY1" fmla="*/ 3085764 h 3085764"/>
                <a:gd name="connsiteX2" fmla="*/ 3237186 w 3237186"/>
                <a:gd name="connsiteY2" fmla="*/ 1246454 h 3085764"/>
                <a:gd name="connsiteX3" fmla="*/ 0 w 3237186"/>
                <a:gd name="connsiteY3" fmla="*/ 0 h 3085764"/>
                <a:gd name="connsiteX0" fmla="*/ 0 w 3255520"/>
                <a:gd name="connsiteY0" fmla="*/ 0 h 3085764"/>
                <a:gd name="connsiteX1" fmla="*/ 441434 w 3255520"/>
                <a:gd name="connsiteY1" fmla="*/ 3085764 h 3085764"/>
                <a:gd name="connsiteX2" fmla="*/ 3255520 w 3255520"/>
                <a:gd name="connsiteY2" fmla="*/ 1239108 h 3085764"/>
                <a:gd name="connsiteX3" fmla="*/ 0 w 3255520"/>
                <a:gd name="connsiteY3" fmla="*/ 0 h 3085764"/>
                <a:gd name="connsiteX0" fmla="*/ 0 w 3255520"/>
                <a:gd name="connsiteY0" fmla="*/ 0 h 3088940"/>
                <a:gd name="connsiteX1" fmla="*/ 460457 w 3255520"/>
                <a:gd name="connsiteY1" fmla="*/ 3088940 h 3088940"/>
                <a:gd name="connsiteX2" fmla="*/ 3255520 w 3255520"/>
                <a:gd name="connsiteY2" fmla="*/ 1239108 h 3088940"/>
                <a:gd name="connsiteX3" fmla="*/ 0 w 3255520"/>
                <a:gd name="connsiteY3" fmla="*/ 0 h 3088940"/>
                <a:gd name="connsiteX0" fmla="*/ 0 w 3262334"/>
                <a:gd name="connsiteY0" fmla="*/ 0 h 3088940"/>
                <a:gd name="connsiteX1" fmla="*/ 460457 w 3262334"/>
                <a:gd name="connsiteY1" fmla="*/ 3088940 h 3088940"/>
                <a:gd name="connsiteX2" fmla="*/ 3262334 w 3262334"/>
                <a:gd name="connsiteY2" fmla="*/ 1239108 h 3088940"/>
                <a:gd name="connsiteX3" fmla="*/ 0 w 3262334"/>
                <a:gd name="connsiteY3" fmla="*/ 0 h 3088940"/>
                <a:gd name="connsiteX0" fmla="*/ 0 w 3264905"/>
                <a:gd name="connsiteY0" fmla="*/ 0 h 3086363"/>
                <a:gd name="connsiteX1" fmla="*/ 463028 w 3264905"/>
                <a:gd name="connsiteY1" fmla="*/ 3086363 h 3086363"/>
                <a:gd name="connsiteX2" fmla="*/ 3264905 w 3264905"/>
                <a:gd name="connsiteY2" fmla="*/ 1236531 h 3086363"/>
                <a:gd name="connsiteX3" fmla="*/ 0 w 3264905"/>
                <a:gd name="connsiteY3" fmla="*/ 0 h 3086363"/>
              </a:gdLst>
              <a:ahLst/>
              <a:cxnLst>
                <a:cxn ang="0">
                  <a:pos x="connsiteX0" y="connsiteY0"/>
                </a:cxn>
                <a:cxn ang="0">
                  <a:pos x="connsiteX1" y="connsiteY1"/>
                </a:cxn>
                <a:cxn ang="0">
                  <a:pos x="connsiteX2" y="connsiteY2"/>
                </a:cxn>
                <a:cxn ang="0">
                  <a:pos x="connsiteX3" y="connsiteY3"/>
                </a:cxn>
              </a:cxnLst>
              <a:rect l="l" t="t" r="r" b="b"/>
              <a:pathLst>
                <a:path w="3264905" h="3086363">
                  <a:moveTo>
                    <a:pt x="0" y="0"/>
                  </a:moveTo>
                  <a:lnTo>
                    <a:pt x="463028" y="3086363"/>
                  </a:lnTo>
                  <a:lnTo>
                    <a:pt x="3264905" y="1236531"/>
                  </a:lnTo>
                  <a:lnTo>
                    <a:pt x="0"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2" name="Freeform 11"/>
            <p:cNvSpPr/>
            <p:nvPr/>
          </p:nvSpPr>
          <p:spPr>
            <a:xfrm>
              <a:off x="7713406" y="2411362"/>
              <a:ext cx="1983659" cy="4457360"/>
            </a:xfrm>
            <a:custGeom>
              <a:avLst/>
              <a:gdLst>
                <a:gd name="connsiteX0" fmla="*/ 1983659 w 1983659"/>
                <a:gd name="connsiteY0" fmla="*/ 0 h 4431891"/>
                <a:gd name="connsiteX1" fmla="*/ 1032388 w 1983659"/>
                <a:gd name="connsiteY1" fmla="*/ 4431891 h 4431891"/>
                <a:gd name="connsiteX2" fmla="*/ 0 w 1983659"/>
                <a:gd name="connsiteY2" fmla="*/ 2286000 h 4431891"/>
                <a:gd name="connsiteX3" fmla="*/ 1983659 w 1983659"/>
                <a:gd name="connsiteY3" fmla="*/ 0 h 4431891"/>
                <a:gd name="connsiteX0" fmla="*/ 1983659 w 1983659"/>
                <a:gd name="connsiteY0" fmla="*/ 0 h 4439842"/>
                <a:gd name="connsiteX1" fmla="*/ 1000583 w 1983659"/>
                <a:gd name="connsiteY1" fmla="*/ 4439842 h 4439842"/>
                <a:gd name="connsiteX2" fmla="*/ 0 w 1983659"/>
                <a:gd name="connsiteY2" fmla="*/ 2286000 h 4439842"/>
                <a:gd name="connsiteX3" fmla="*/ 1983659 w 1983659"/>
                <a:gd name="connsiteY3" fmla="*/ 0 h 4439842"/>
                <a:gd name="connsiteX0" fmla="*/ 1983659 w 1983659"/>
                <a:gd name="connsiteY0" fmla="*/ 0 h 4447794"/>
                <a:gd name="connsiteX1" fmla="*/ 1000583 w 1983659"/>
                <a:gd name="connsiteY1" fmla="*/ 4447794 h 4447794"/>
                <a:gd name="connsiteX2" fmla="*/ 0 w 1983659"/>
                <a:gd name="connsiteY2" fmla="*/ 2286000 h 4447794"/>
                <a:gd name="connsiteX3" fmla="*/ 1983659 w 1983659"/>
                <a:gd name="connsiteY3" fmla="*/ 0 h 4447794"/>
                <a:gd name="connsiteX0" fmla="*/ 1983659 w 1983659"/>
                <a:gd name="connsiteY0" fmla="*/ 0 h 4471648"/>
                <a:gd name="connsiteX1" fmla="*/ 1000583 w 1983659"/>
                <a:gd name="connsiteY1" fmla="*/ 4471648 h 4471648"/>
                <a:gd name="connsiteX2" fmla="*/ 0 w 1983659"/>
                <a:gd name="connsiteY2" fmla="*/ 2286000 h 4471648"/>
                <a:gd name="connsiteX3" fmla="*/ 1983659 w 1983659"/>
                <a:gd name="connsiteY3" fmla="*/ 0 h 4471648"/>
                <a:gd name="connsiteX0" fmla="*/ 1983659 w 1983659"/>
                <a:gd name="connsiteY0" fmla="*/ 0 h 4457360"/>
                <a:gd name="connsiteX1" fmla="*/ 995820 w 1983659"/>
                <a:gd name="connsiteY1" fmla="*/ 4457360 h 4457360"/>
                <a:gd name="connsiteX2" fmla="*/ 0 w 1983659"/>
                <a:gd name="connsiteY2" fmla="*/ 2286000 h 4457360"/>
                <a:gd name="connsiteX3" fmla="*/ 1983659 w 1983659"/>
                <a:gd name="connsiteY3" fmla="*/ 0 h 4457360"/>
                <a:gd name="connsiteX0" fmla="*/ 1983659 w 1983659"/>
                <a:gd name="connsiteY0" fmla="*/ 0 h 4457360"/>
                <a:gd name="connsiteX1" fmla="*/ 991058 w 1983659"/>
                <a:gd name="connsiteY1" fmla="*/ 4457360 h 4457360"/>
                <a:gd name="connsiteX2" fmla="*/ 0 w 1983659"/>
                <a:gd name="connsiteY2" fmla="*/ 2286000 h 4457360"/>
                <a:gd name="connsiteX3" fmla="*/ 1983659 w 1983659"/>
                <a:gd name="connsiteY3" fmla="*/ 0 h 4457360"/>
              </a:gdLst>
              <a:ahLst/>
              <a:cxnLst>
                <a:cxn ang="0">
                  <a:pos x="connsiteX0" y="connsiteY0"/>
                </a:cxn>
                <a:cxn ang="0">
                  <a:pos x="connsiteX1" y="connsiteY1"/>
                </a:cxn>
                <a:cxn ang="0">
                  <a:pos x="connsiteX2" y="connsiteY2"/>
                </a:cxn>
                <a:cxn ang="0">
                  <a:pos x="connsiteX3" y="connsiteY3"/>
                </a:cxn>
              </a:cxnLst>
              <a:rect l="l" t="t" r="r" b="b"/>
              <a:pathLst>
                <a:path w="1983659" h="4457360">
                  <a:moveTo>
                    <a:pt x="1983659" y="0"/>
                  </a:moveTo>
                  <a:lnTo>
                    <a:pt x="991058" y="4457360"/>
                  </a:lnTo>
                  <a:lnTo>
                    <a:pt x="0" y="2286000"/>
                  </a:lnTo>
                  <a:lnTo>
                    <a:pt x="1983659" y="0"/>
                  </a:lnTo>
                  <a:close/>
                </a:path>
              </a:pathLst>
            </a:custGeom>
            <a:gradFill>
              <a:gsLst>
                <a:gs pos="100000">
                  <a:schemeClr val="accent3"/>
                </a:gs>
                <a:gs pos="36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3" name="Freeform 12"/>
            <p:cNvSpPr/>
            <p:nvPr/>
          </p:nvSpPr>
          <p:spPr>
            <a:xfrm>
              <a:off x="6341757" y="1209676"/>
              <a:ext cx="3359456" cy="1822946"/>
            </a:xfrm>
            <a:custGeom>
              <a:avLst/>
              <a:gdLst>
                <a:gd name="connsiteX0" fmla="*/ 1271587 w 3305175"/>
                <a:gd name="connsiteY0" fmla="*/ 0 h 1809750"/>
                <a:gd name="connsiteX1" fmla="*/ 3305175 w 3305175"/>
                <a:gd name="connsiteY1" fmla="*/ 1233487 h 1809750"/>
                <a:gd name="connsiteX2" fmla="*/ 0 w 3305175"/>
                <a:gd name="connsiteY2" fmla="*/ 1809750 h 1809750"/>
                <a:gd name="connsiteX3" fmla="*/ 1271587 w 3305175"/>
                <a:gd name="connsiteY3" fmla="*/ 0 h 1809750"/>
                <a:gd name="connsiteX0" fmla="*/ 1281112 w 3314700"/>
                <a:gd name="connsiteY0" fmla="*/ 0 h 1828800"/>
                <a:gd name="connsiteX1" fmla="*/ 3314700 w 3314700"/>
                <a:gd name="connsiteY1" fmla="*/ 1233487 h 1828800"/>
                <a:gd name="connsiteX2" fmla="*/ 0 w 3314700"/>
                <a:gd name="connsiteY2" fmla="*/ 1828800 h 1828800"/>
                <a:gd name="connsiteX3" fmla="*/ 1281112 w 3314700"/>
                <a:gd name="connsiteY3" fmla="*/ 0 h 1828800"/>
                <a:gd name="connsiteX0" fmla="*/ 1300162 w 3333750"/>
                <a:gd name="connsiteY0" fmla="*/ 0 h 1824037"/>
                <a:gd name="connsiteX1" fmla="*/ 3333750 w 3333750"/>
                <a:gd name="connsiteY1" fmla="*/ 1233487 h 1824037"/>
                <a:gd name="connsiteX2" fmla="*/ 0 w 3333750"/>
                <a:gd name="connsiteY2" fmla="*/ 1824037 h 1824037"/>
                <a:gd name="connsiteX3" fmla="*/ 1300162 w 3333750"/>
                <a:gd name="connsiteY3" fmla="*/ 0 h 1824037"/>
                <a:gd name="connsiteX0" fmla="*/ 1314449 w 3333750"/>
                <a:gd name="connsiteY0" fmla="*/ 0 h 1381124"/>
                <a:gd name="connsiteX1" fmla="*/ 3333750 w 3333750"/>
                <a:gd name="connsiteY1" fmla="*/ 790574 h 1381124"/>
                <a:gd name="connsiteX2" fmla="*/ 0 w 3333750"/>
                <a:gd name="connsiteY2" fmla="*/ 1381124 h 1381124"/>
                <a:gd name="connsiteX3" fmla="*/ 1314449 w 3333750"/>
                <a:gd name="connsiteY3" fmla="*/ 0 h 138112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00162 w 3333750"/>
                <a:gd name="connsiteY0" fmla="*/ 0 h 1819274"/>
                <a:gd name="connsiteX1" fmla="*/ 3333750 w 3333750"/>
                <a:gd name="connsiteY1" fmla="*/ 1228724 h 1819274"/>
                <a:gd name="connsiteX2" fmla="*/ 0 w 3333750"/>
                <a:gd name="connsiteY2" fmla="*/ 1819274 h 1819274"/>
                <a:gd name="connsiteX3" fmla="*/ 1300162 w 3333750"/>
                <a:gd name="connsiteY3" fmla="*/ 0 h 1819274"/>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 name="connsiteX0" fmla="*/ 1325868 w 3359456"/>
                <a:gd name="connsiteY0" fmla="*/ 0 h 1822946"/>
                <a:gd name="connsiteX1" fmla="*/ 3359456 w 3359456"/>
                <a:gd name="connsiteY1" fmla="*/ 1228724 h 1822946"/>
                <a:gd name="connsiteX2" fmla="*/ 0 w 3359456"/>
                <a:gd name="connsiteY2" fmla="*/ 1822946 h 1822946"/>
                <a:gd name="connsiteX3" fmla="*/ 1325868 w 3359456"/>
                <a:gd name="connsiteY3" fmla="*/ 0 h 1822946"/>
              </a:gdLst>
              <a:ahLst/>
              <a:cxnLst>
                <a:cxn ang="0">
                  <a:pos x="connsiteX0" y="connsiteY0"/>
                </a:cxn>
                <a:cxn ang="0">
                  <a:pos x="connsiteX1" y="connsiteY1"/>
                </a:cxn>
                <a:cxn ang="0">
                  <a:pos x="connsiteX2" y="connsiteY2"/>
                </a:cxn>
                <a:cxn ang="0">
                  <a:pos x="connsiteX3" y="connsiteY3"/>
                </a:cxn>
              </a:cxnLst>
              <a:rect l="l" t="t" r="r" b="b"/>
              <a:pathLst>
                <a:path w="3359456" h="1822946">
                  <a:moveTo>
                    <a:pt x="1325868" y="0"/>
                  </a:moveTo>
                  <a:lnTo>
                    <a:pt x="3359456" y="1228724"/>
                  </a:lnTo>
                  <a:lnTo>
                    <a:pt x="0" y="1822946"/>
                  </a:lnTo>
                  <a:lnTo>
                    <a:pt x="1325868"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4" name="Freeform 13"/>
            <p:cNvSpPr/>
            <p:nvPr/>
          </p:nvSpPr>
          <p:spPr>
            <a:xfrm>
              <a:off x="-227" y="-2"/>
              <a:ext cx="1040749" cy="6875699"/>
            </a:xfrm>
            <a:custGeom>
              <a:avLst/>
              <a:gdLst>
                <a:gd name="connsiteX0" fmla="*/ 0 w 1076445"/>
                <a:gd name="connsiteY0" fmla="*/ 0 h 6817489"/>
                <a:gd name="connsiteX1" fmla="*/ 1076445 w 1076445"/>
                <a:gd name="connsiteY1" fmla="*/ 1805651 h 6817489"/>
                <a:gd name="connsiteX2" fmla="*/ 11574 w 1076445"/>
                <a:gd name="connsiteY2" fmla="*/ 6817489 h 6817489"/>
                <a:gd name="connsiteX3" fmla="*/ 0 w 1076445"/>
                <a:gd name="connsiteY3" fmla="*/ 0 h 6817489"/>
                <a:gd name="connsiteX0" fmla="*/ 0 w 873245"/>
                <a:gd name="connsiteY0" fmla="*/ 0 h 6817489"/>
                <a:gd name="connsiteX1" fmla="*/ 873245 w 873245"/>
                <a:gd name="connsiteY1" fmla="*/ 1764376 h 6817489"/>
                <a:gd name="connsiteX2" fmla="*/ 11574 w 873245"/>
                <a:gd name="connsiteY2" fmla="*/ 6817489 h 6817489"/>
                <a:gd name="connsiteX3" fmla="*/ 0 w 873245"/>
                <a:gd name="connsiteY3" fmla="*/ 0 h 6817489"/>
                <a:gd name="connsiteX0" fmla="*/ 0 w 1047870"/>
                <a:gd name="connsiteY0" fmla="*/ 0 h 6817489"/>
                <a:gd name="connsiteX1" fmla="*/ 1047870 w 1047870"/>
                <a:gd name="connsiteY1" fmla="*/ 1770726 h 6817489"/>
                <a:gd name="connsiteX2" fmla="*/ 11574 w 1047870"/>
                <a:gd name="connsiteY2" fmla="*/ 6817489 h 6817489"/>
                <a:gd name="connsiteX3" fmla="*/ 0 w 1047870"/>
                <a:gd name="connsiteY3" fmla="*/ 0 h 6817489"/>
                <a:gd name="connsiteX0" fmla="*/ 0 w 698013"/>
                <a:gd name="connsiteY0" fmla="*/ 0 h 6817489"/>
                <a:gd name="connsiteX1" fmla="*/ 698013 w 698013"/>
                <a:gd name="connsiteY1" fmla="*/ 2181752 h 6817489"/>
                <a:gd name="connsiteX2" fmla="*/ 11574 w 698013"/>
                <a:gd name="connsiteY2" fmla="*/ 6817489 h 6817489"/>
                <a:gd name="connsiteX3" fmla="*/ 0 w 698013"/>
                <a:gd name="connsiteY3" fmla="*/ 0 h 6817489"/>
                <a:gd name="connsiteX0" fmla="*/ 0 w 1039919"/>
                <a:gd name="connsiteY0" fmla="*/ 0 h 6817489"/>
                <a:gd name="connsiteX1" fmla="*/ 1039919 w 1039919"/>
                <a:gd name="connsiteY1" fmla="*/ 1762823 h 6817489"/>
                <a:gd name="connsiteX2" fmla="*/ 11574 w 1039919"/>
                <a:gd name="connsiteY2" fmla="*/ 6817489 h 6817489"/>
                <a:gd name="connsiteX3" fmla="*/ 0 w 1039919"/>
                <a:gd name="connsiteY3" fmla="*/ 0 h 6817489"/>
                <a:gd name="connsiteX0" fmla="*/ 0 w 823788"/>
                <a:gd name="connsiteY0" fmla="*/ 0 h 6817489"/>
                <a:gd name="connsiteX1" fmla="*/ 823788 w 823788"/>
                <a:gd name="connsiteY1" fmla="*/ 1820668 h 6817489"/>
                <a:gd name="connsiteX2" fmla="*/ 11574 w 823788"/>
                <a:gd name="connsiteY2" fmla="*/ 6817489 h 6817489"/>
                <a:gd name="connsiteX3" fmla="*/ 0 w 823788"/>
                <a:gd name="connsiteY3" fmla="*/ 0 h 6817489"/>
                <a:gd name="connsiteX0" fmla="*/ 0 w 1035762"/>
                <a:gd name="connsiteY0" fmla="*/ 0 h 6817489"/>
                <a:gd name="connsiteX1" fmla="*/ 1035762 w 1035762"/>
                <a:gd name="connsiteY1" fmla="*/ 1766955 h 6817489"/>
                <a:gd name="connsiteX2" fmla="*/ 11574 w 1035762"/>
                <a:gd name="connsiteY2" fmla="*/ 6817489 h 6817489"/>
                <a:gd name="connsiteX3" fmla="*/ 0 w 1035762"/>
                <a:gd name="connsiteY3" fmla="*/ 0 h 6817489"/>
                <a:gd name="connsiteX0" fmla="*/ 0 w 1040524"/>
                <a:gd name="connsiteY0" fmla="*/ 0 h 6817489"/>
                <a:gd name="connsiteX1" fmla="*/ 1040524 w 1040524"/>
                <a:gd name="connsiteY1" fmla="*/ 1762221 h 6817489"/>
                <a:gd name="connsiteX2" fmla="*/ 11574 w 1040524"/>
                <a:gd name="connsiteY2" fmla="*/ 6817489 h 6817489"/>
                <a:gd name="connsiteX3" fmla="*/ 0 w 1040524"/>
                <a:gd name="connsiteY3" fmla="*/ 0 h 6817489"/>
                <a:gd name="connsiteX0" fmla="*/ 225 w 1040749"/>
                <a:gd name="connsiteY0" fmla="*/ 0 h 6858541"/>
                <a:gd name="connsiteX1" fmla="*/ 1040749 w 1040749"/>
                <a:gd name="connsiteY1" fmla="*/ 1762221 h 6858541"/>
                <a:gd name="connsiteX2" fmla="*/ 0 w 1040749"/>
                <a:gd name="connsiteY2" fmla="*/ 6858541 h 6858541"/>
                <a:gd name="connsiteX3" fmla="*/ 225 w 1040749"/>
                <a:gd name="connsiteY3" fmla="*/ 0 h 6858541"/>
                <a:gd name="connsiteX0" fmla="*/ 225 w 1040749"/>
                <a:gd name="connsiteY0" fmla="*/ 0 h 6835083"/>
                <a:gd name="connsiteX1" fmla="*/ 1040749 w 1040749"/>
                <a:gd name="connsiteY1" fmla="*/ 1762221 h 6835083"/>
                <a:gd name="connsiteX2" fmla="*/ 0 w 1040749"/>
                <a:gd name="connsiteY2" fmla="*/ 6835083 h 6835083"/>
                <a:gd name="connsiteX3" fmla="*/ 225 w 1040749"/>
                <a:gd name="connsiteY3" fmla="*/ 0 h 6835083"/>
              </a:gdLst>
              <a:ahLst/>
              <a:cxnLst>
                <a:cxn ang="0">
                  <a:pos x="connsiteX0" y="connsiteY0"/>
                </a:cxn>
                <a:cxn ang="0">
                  <a:pos x="connsiteX1" y="connsiteY1"/>
                </a:cxn>
                <a:cxn ang="0">
                  <a:pos x="connsiteX2" y="connsiteY2"/>
                </a:cxn>
                <a:cxn ang="0">
                  <a:pos x="connsiteX3" y="connsiteY3"/>
                </a:cxn>
              </a:cxnLst>
              <a:rect l="l" t="t" r="r" b="b"/>
              <a:pathLst>
                <a:path w="1040749" h="6835083">
                  <a:moveTo>
                    <a:pt x="225" y="0"/>
                  </a:moveTo>
                  <a:lnTo>
                    <a:pt x="1040749" y="1762221"/>
                  </a:lnTo>
                  <a:lnTo>
                    <a:pt x="0" y="6835083"/>
                  </a:lnTo>
                  <a:lnTo>
                    <a:pt x="225" y="0"/>
                  </a:lnTo>
                  <a:close/>
                </a:path>
              </a:pathLst>
            </a:custGeom>
            <a:gradFill>
              <a:gsLst>
                <a:gs pos="96000">
                  <a:schemeClr val="accent3"/>
                </a:gs>
                <a:gs pos="18000">
                  <a:schemeClr val="accent2"/>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5" name="Freeform 14"/>
            <p:cNvSpPr/>
            <p:nvPr/>
          </p:nvSpPr>
          <p:spPr>
            <a:xfrm>
              <a:off x="3119436" y="-1"/>
              <a:ext cx="3260163" cy="3022037"/>
            </a:xfrm>
            <a:custGeom>
              <a:avLst/>
              <a:gdLst>
                <a:gd name="connsiteX0" fmla="*/ 185737 w 3228975"/>
                <a:gd name="connsiteY0" fmla="*/ 0 h 3024188"/>
                <a:gd name="connsiteX1" fmla="*/ 0 w 3228975"/>
                <a:gd name="connsiteY1" fmla="*/ 1771650 h 3024188"/>
                <a:gd name="connsiteX2" fmla="*/ 3228975 w 3228975"/>
                <a:gd name="connsiteY2" fmla="*/ 3024188 h 3024188"/>
                <a:gd name="connsiteX3" fmla="*/ 185737 w 3228975"/>
                <a:gd name="connsiteY3"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1976437 w 3228975"/>
                <a:gd name="connsiteY3" fmla="*/ 1776413 h 3024188"/>
                <a:gd name="connsiteX4" fmla="*/ 185737 w 3228975"/>
                <a:gd name="connsiteY4" fmla="*/ 0 h 3024188"/>
                <a:gd name="connsiteX0" fmla="*/ 185737 w 3228975"/>
                <a:gd name="connsiteY0" fmla="*/ 0 h 3024188"/>
                <a:gd name="connsiteX1" fmla="*/ 0 w 3228975"/>
                <a:gd name="connsiteY1" fmla="*/ 1771650 h 3024188"/>
                <a:gd name="connsiteX2" fmla="*/ 3228975 w 3228975"/>
                <a:gd name="connsiteY2" fmla="*/ 3024188 h 3024188"/>
                <a:gd name="connsiteX3" fmla="*/ 2733674 w 3228975"/>
                <a:gd name="connsiteY3" fmla="*/ 1281113 h 3024188"/>
                <a:gd name="connsiteX4" fmla="*/ 185737 w 3228975"/>
                <a:gd name="connsiteY4" fmla="*/ 0 h 3024188"/>
                <a:gd name="connsiteX0" fmla="*/ 185737 w 3181350"/>
                <a:gd name="connsiteY0" fmla="*/ 0 h 2481263"/>
                <a:gd name="connsiteX1" fmla="*/ 0 w 3181350"/>
                <a:gd name="connsiteY1" fmla="*/ 1771650 h 2481263"/>
                <a:gd name="connsiteX2" fmla="*/ 3181350 w 3181350"/>
                <a:gd name="connsiteY2" fmla="*/ 2481263 h 2481263"/>
                <a:gd name="connsiteX3" fmla="*/ 2733674 w 3181350"/>
                <a:gd name="connsiteY3" fmla="*/ 1281113 h 2481263"/>
                <a:gd name="connsiteX4" fmla="*/ 185737 w 3181350"/>
                <a:gd name="connsiteY4" fmla="*/ 0 h 24812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1113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2733674 w 3214688"/>
                <a:gd name="connsiteY3" fmla="*/ 1285876 h 3014663"/>
                <a:gd name="connsiteX4" fmla="*/ 185737 w 3214688"/>
                <a:gd name="connsiteY4" fmla="*/ 0 h 3014663"/>
                <a:gd name="connsiteX0" fmla="*/ 185737 w 3214688"/>
                <a:gd name="connsiteY0" fmla="*/ 0 h 3014663"/>
                <a:gd name="connsiteX1" fmla="*/ 0 w 3214688"/>
                <a:gd name="connsiteY1" fmla="*/ 1771650 h 3014663"/>
                <a:gd name="connsiteX2" fmla="*/ 3214688 w 3214688"/>
                <a:gd name="connsiteY2" fmla="*/ 3014663 h 3014663"/>
                <a:gd name="connsiteX3" fmla="*/ 185737 w 3214688"/>
                <a:gd name="connsiteY3" fmla="*/ 0 h 3014663"/>
                <a:gd name="connsiteX0" fmla="*/ 190500 w 3219451"/>
                <a:gd name="connsiteY0" fmla="*/ 0 h 3014663"/>
                <a:gd name="connsiteX1" fmla="*/ 0 w 3219451"/>
                <a:gd name="connsiteY1" fmla="*/ 1781175 h 3014663"/>
                <a:gd name="connsiteX2" fmla="*/ 3219451 w 3219451"/>
                <a:gd name="connsiteY2" fmla="*/ 3014663 h 3014663"/>
                <a:gd name="connsiteX3" fmla="*/ 190500 w 3219451"/>
                <a:gd name="connsiteY3" fmla="*/ 0 h 3014663"/>
                <a:gd name="connsiteX0" fmla="*/ 190500 w 3219451"/>
                <a:gd name="connsiteY0" fmla="*/ 0 h 3014663"/>
                <a:gd name="connsiteX1" fmla="*/ 0 w 3219451"/>
                <a:gd name="connsiteY1" fmla="*/ 1766887 h 3014663"/>
                <a:gd name="connsiteX2" fmla="*/ 3219451 w 3219451"/>
                <a:gd name="connsiteY2" fmla="*/ 3014663 h 3014663"/>
                <a:gd name="connsiteX3" fmla="*/ 190500 w 3219451"/>
                <a:gd name="connsiteY3" fmla="*/ 0 h 3014663"/>
                <a:gd name="connsiteX0" fmla="*/ 223838 w 3252789"/>
                <a:gd name="connsiteY0" fmla="*/ 0 h 3014663"/>
                <a:gd name="connsiteX1" fmla="*/ 0 w 3252789"/>
                <a:gd name="connsiteY1" fmla="*/ 1771650 h 3014663"/>
                <a:gd name="connsiteX2" fmla="*/ 3252789 w 3252789"/>
                <a:gd name="connsiteY2" fmla="*/ 3014663 h 3014663"/>
                <a:gd name="connsiteX3" fmla="*/ 223838 w 3252789"/>
                <a:gd name="connsiteY3" fmla="*/ 0 h 3014663"/>
                <a:gd name="connsiteX0" fmla="*/ 223838 w 3252789"/>
                <a:gd name="connsiteY0" fmla="*/ 0 h 3014663"/>
                <a:gd name="connsiteX1" fmla="*/ 0 w 3252789"/>
                <a:gd name="connsiteY1" fmla="*/ 1790700 h 3014663"/>
                <a:gd name="connsiteX2" fmla="*/ 3252789 w 3252789"/>
                <a:gd name="connsiteY2" fmla="*/ 3014663 h 3014663"/>
                <a:gd name="connsiteX3" fmla="*/ 223838 w 3252789"/>
                <a:gd name="connsiteY3" fmla="*/ 0 h 3014663"/>
                <a:gd name="connsiteX0" fmla="*/ 223838 w 3252789"/>
                <a:gd name="connsiteY0" fmla="*/ 0 h 3022037"/>
                <a:gd name="connsiteX1" fmla="*/ 0 w 3252789"/>
                <a:gd name="connsiteY1" fmla="*/ 1790700 h 3022037"/>
                <a:gd name="connsiteX2" fmla="*/ 3252789 w 3252789"/>
                <a:gd name="connsiteY2" fmla="*/ 3022037 h 3022037"/>
                <a:gd name="connsiteX3" fmla="*/ 223838 w 3252789"/>
                <a:gd name="connsiteY3" fmla="*/ 0 h 3022037"/>
                <a:gd name="connsiteX0" fmla="*/ 223838 w 3260163"/>
                <a:gd name="connsiteY0" fmla="*/ 0 h 3014663"/>
                <a:gd name="connsiteX1" fmla="*/ 0 w 3260163"/>
                <a:gd name="connsiteY1" fmla="*/ 1790700 h 3014663"/>
                <a:gd name="connsiteX2" fmla="*/ 3260163 w 3260163"/>
                <a:gd name="connsiteY2" fmla="*/ 3014663 h 3014663"/>
                <a:gd name="connsiteX3" fmla="*/ 223838 w 3260163"/>
                <a:gd name="connsiteY3" fmla="*/ 0 h 3014663"/>
                <a:gd name="connsiteX0" fmla="*/ 223838 w 3260163"/>
                <a:gd name="connsiteY0" fmla="*/ 0 h 3022037"/>
                <a:gd name="connsiteX1" fmla="*/ 0 w 3260163"/>
                <a:gd name="connsiteY1" fmla="*/ 1790700 h 3022037"/>
                <a:gd name="connsiteX2" fmla="*/ 3260163 w 3260163"/>
                <a:gd name="connsiteY2" fmla="*/ 3022037 h 3022037"/>
                <a:gd name="connsiteX3" fmla="*/ 223838 w 3260163"/>
                <a:gd name="connsiteY3" fmla="*/ 0 h 3022037"/>
              </a:gdLst>
              <a:ahLst/>
              <a:cxnLst>
                <a:cxn ang="0">
                  <a:pos x="connsiteX0" y="connsiteY0"/>
                </a:cxn>
                <a:cxn ang="0">
                  <a:pos x="connsiteX1" y="connsiteY1"/>
                </a:cxn>
                <a:cxn ang="0">
                  <a:pos x="connsiteX2" y="connsiteY2"/>
                </a:cxn>
                <a:cxn ang="0">
                  <a:pos x="connsiteX3" y="connsiteY3"/>
                </a:cxn>
              </a:cxnLst>
              <a:rect l="l" t="t" r="r" b="b"/>
              <a:pathLst>
                <a:path w="3260163" h="3022037">
                  <a:moveTo>
                    <a:pt x="223838" y="0"/>
                  </a:moveTo>
                  <a:lnTo>
                    <a:pt x="0" y="1790700"/>
                  </a:lnTo>
                  <a:lnTo>
                    <a:pt x="3260163" y="3022037"/>
                  </a:lnTo>
                  <a:lnTo>
                    <a:pt x="223838" y="0"/>
                  </a:lnTo>
                  <a:close/>
                </a:path>
              </a:pathLst>
            </a:custGeom>
            <a:gradFill>
              <a:gsLst>
                <a:gs pos="100000">
                  <a:schemeClr val="accent3"/>
                </a:gs>
                <a:gs pos="6000">
                  <a:schemeClr val="accent2"/>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6" name="Freeform 15"/>
            <p:cNvSpPr/>
            <p:nvPr/>
          </p:nvSpPr>
          <p:spPr>
            <a:xfrm>
              <a:off x="3343275" y="0"/>
              <a:ext cx="4337998" cy="3019426"/>
            </a:xfrm>
            <a:custGeom>
              <a:avLst/>
              <a:gdLst>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24350"/>
                <a:gd name="connsiteY0" fmla="*/ 0 h 3019426"/>
                <a:gd name="connsiteX1" fmla="*/ 4324350 w 4324350"/>
                <a:gd name="connsiteY1" fmla="*/ 1214438 h 3019426"/>
                <a:gd name="connsiteX2" fmla="*/ 3028950 w 4324350"/>
                <a:gd name="connsiteY2" fmla="*/ 3019426 h 3019426"/>
                <a:gd name="connsiteX3" fmla="*/ 0 w 4324350"/>
                <a:gd name="connsiteY3" fmla="*/ 0 h 3019426"/>
                <a:gd name="connsiteX0" fmla="*/ 0 w 4337998"/>
                <a:gd name="connsiteY0" fmla="*/ 0 h 3019426"/>
                <a:gd name="connsiteX1" fmla="*/ 4337998 w 4337998"/>
                <a:gd name="connsiteY1" fmla="*/ 1214438 h 3019426"/>
                <a:gd name="connsiteX2" fmla="*/ 3028950 w 4337998"/>
                <a:gd name="connsiteY2" fmla="*/ 3019426 h 3019426"/>
                <a:gd name="connsiteX3" fmla="*/ 0 w 4337998"/>
                <a:gd name="connsiteY3" fmla="*/ 0 h 3019426"/>
                <a:gd name="connsiteX0" fmla="*/ 0 w 4337998"/>
                <a:gd name="connsiteY0" fmla="*/ 0 h 3019426"/>
                <a:gd name="connsiteX1" fmla="*/ 4337998 w 4337998"/>
                <a:gd name="connsiteY1" fmla="*/ 1214438 h 3019426"/>
                <a:gd name="connsiteX2" fmla="*/ 3015303 w 4337998"/>
                <a:gd name="connsiteY2" fmla="*/ 3019426 h 3019426"/>
                <a:gd name="connsiteX3" fmla="*/ 0 w 4337998"/>
                <a:gd name="connsiteY3" fmla="*/ 0 h 3019426"/>
              </a:gdLst>
              <a:ahLst/>
              <a:cxnLst>
                <a:cxn ang="0">
                  <a:pos x="connsiteX0" y="connsiteY0"/>
                </a:cxn>
                <a:cxn ang="0">
                  <a:pos x="connsiteX1" y="connsiteY1"/>
                </a:cxn>
                <a:cxn ang="0">
                  <a:pos x="connsiteX2" y="connsiteY2"/>
                </a:cxn>
                <a:cxn ang="0">
                  <a:pos x="connsiteX3" y="connsiteY3"/>
                </a:cxn>
              </a:cxnLst>
              <a:rect l="l" t="t" r="r" b="b"/>
              <a:pathLst>
                <a:path w="4337998" h="3019426">
                  <a:moveTo>
                    <a:pt x="0" y="0"/>
                  </a:moveTo>
                  <a:lnTo>
                    <a:pt x="4337998" y="1214438"/>
                  </a:lnTo>
                  <a:lnTo>
                    <a:pt x="3015303" y="3019426"/>
                  </a:lnTo>
                  <a:lnTo>
                    <a:pt x="0" y="0"/>
                  </a:lnTo>
                  <a:close/>
                </a:path>
              </a:pathLst>
            </a:custGeom>
            <a:gradFill>
              <a:gsLst>
                <a:gs pos="100000">
                  <a:schemeClr val="accent3"/>
                </a:gs>
                <a:gs pos="44000">
                  <a:schemeClr val="accent2"/>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r>
                <a:rPr lang="en-US" sz="2000">
                  <a:solidFill>
                    <a:srgbClr val="FFFFFF"/>
                  </a:solidFill>
                </a:rPr>
                <a:t>s</a:t>
              </a:r>
              <a:endParaRPr lang="en-US" sz="2000" dirty="0">
                <a:solidFill>
                  <a:srgbClr val="FFFFFF"/>
                </a:solidFill>
              </a:endParaRPr>
            </a:p>
          </p:txBody>
        </p:sp>
        <p:sp>
          <p:nvSpPr>
            <p:cNvPr id="17" name="Freeform 16"/>
            <p:cNvSpPr/>
            <p:nvPr/>
          </p:nvSpPr>
          <p:spPr>
            <a:xfrm>
              <a:off x="7667625" y="1"/>
              <a:ext cx="4533261" cy="1214438"/>
            </a:xfrm>
            <a:custGeom>
              <a:avLst/>
              <a:gdLst>
                <a:gd name="connsiteX0" fmla="*/ 3367088 w 4524375"/>
                <a:gd name="connsiteY0" fmla="*/ 0 h 1223963"/>
                <a:gd name="connsiteX1" fmla="*/ 0 w 4524375"/>
                <a:gd name="connsiteY1" fmla="*/ 1223963 h 1223963"/>
                <a:gd name="connsiteX2" fmla="*/ 4524375 w 4524375"/>
                <a:gd name="connsiteY2" fmla="*/ 1071563 h 1223963"/>
                <a:gd name="connsiteX3" fmla="*/ 3367088 w 4524375"/>
                <a:gd name="connsiteY3" fmla="*/ 0 h 1223963"/>
                <a:gd name="connsiteX0" fmla="*/ 3352800 w 4524375"/>
                <a:gd name="connsiteY0" fmla="*/ 0 h 1233489"/>
                <a:gd name="connsiteX1" fmla="*/ 0 w 4524375"/>
                <a:gd name="connsiteY1" fmla="*/ 1233489 h 1233489"/>
                <a:gd name="connsiteX2" fmla="*/ 4524375 w 4524375"/>
                <a:gd name="connsiteY2" fmla="*/ 1081089 h 1233489"/>
                <a:gd name="connsiteX3" fmla="*/ 3352800 w 4524375"/>
                <a:gd name="connsiteY3" fmla="*/ 0 h 1233489"/>
                <a:gd name="connsiteX0" fmla="*/ 3352800 w 4524375"/>
                <a:gd name="connsiteY0" fmla="*/ 0 h 1228726"/>
                <a:gd name="connsiteX1" fmla="*/ 0 w 4524375"/>
                <a:gd name="connsiteY1" fmla="*/ 1228726 h 1228726"/>
                <a:gd name="connsiteX2" fmla="*/ 4524375 w 4524375"/>
                <a:gd name="connsiteY2" fmla="*/ 1076326 h 1228726"/>
                <a:gd name="connsiteX3" fmla="*/ 3352800 w 4524375"/>
                <a:gd name="connsiteY3" fmla="*/ 0 h 1228726"/>
                <a:gd name="connsiteX0" fmla="*/ 3357563 w 4524375"/>
                <a:gd name="connsiteY0" fmla="*/ 0 h 1223963"/>
                <a:gd name="connsiteX1" fmla="*/ 0 w 4524375"/>
                <a:gd name="connsiteY1" fmla="*/ 1223963 h 1223963"/>
                <a:gd name="connsiteX2" fmla="*/ 4524375 w 4524375"/>
                <a:gd name="connsiteY2" fmla="*/ 1071563 h 1223963"/>
                <a:gd name="connsiteX3" fmla="*/ 3357563 w 4524375"/>
                <a:gd name="connsiteY3" fmla="*/ 0 h 1223963"/>
                <a:gd name="connsiteX0" fmla="*/ 3371851 w 4538663"/>
                <a:gd name="connsiteY0" fmla="*/ 0 h 1219200"/>
                <a:gd name="connsiteX1" fmla="*/ 0 w 4538663"/>
                <a:gd name="connsiteY1" fmla="*/ 1219200 h 1219200"/>
                <a:gd name="connsiteX2" fmla="*/ 4538663 w 4538663"/>
                <a:gd name="connsiteY2" fmla="*/ 1071563 h 1219200"/>
                <a:gd name="connsiteX3" fmla="*/ 3371851 w 4538663"/>
                <a:gd name="connsiteY3" fmla="*/ 0 h 1219200"/>
                <a:gd name="connsiteX0" fmla="*/ 3243264 w 4410076"/>
                <a:gd name="connsiteY0" fmla="*/ 0 h 1071563"/>
                <a:gd name="connsiteX1" fmla="*/ 0 w 4410076"/>
                <a:gd name="connsiteY1" fmla="*/ 1033463 h 1071563"/>
                <a:gd name="connsiteX2" fmla="*/ 4410076 w 4410076"/>
                <a:gd name="connsiteY2" fmla="*/ 1071563 h 1071563"/>
                <a:gd name="connsiteX3" fmla="*/ 3243264 w 4410076"/>
                <a:gd name="connsiteY3" fmla="*/ 0 h 1071563"/>
                <a:gd name="connsiteX0" fmla="*/ 3352801 w 4519613"/>
                <a:gd name="connsiteY0" fmla="*/ 0 h 1214438"/>
                <a:gd name="connsiteX1" fmla="*/ 0 w 4519613"/>
                <a:gd name="connsiteY1" fmla="*/ 1214438 h 1214438"/>
                <a:gd name="connsiteX2" fmla="*/ 4519613 w 4519613"/>
                <a:gd name="connsiteY2" fmla="*/ 1071563 h 1214438"/>
                <a:gd name="connsiteX3" fmla="*/ 3352801 w 4519613"/>
                <a:gd name="connsiteY3" fmla="*/ 0 h 1214438"/>
                <a:gd name="connsiteX0" fmla="*/ 3352801 w 4533261"/>
                <a:gd name="connsiteY0" fmla="*/ 0 h 1214438"/>
                <a:gd name="connsiteX1" fmla="*/ 0 w 4533261"/>
                <a:gd name="connsiteY1" fmla="*/ 1214438 h 1214438"/>
                <a:gd name="connsiteX2" fmla="*/ 4533261 w 4533261"/>
                <a:gd name="connsiteY2" fmla="*/ 1071563 h 1214438"/>
                <a:gd name="connsiteX3" fmla="*/ 3352801 w 4533261"/>
                <a:gd name="connsiteY3" fmla="*/ 0 h 1214438"/>
                <a:gd name="connsiteX0" fmla="*/ 3352801 w 4533261"/>
                <a:gd name="connsiteY0" fmla="*/ 0 h 1214438"/>
                <a:gd name="connsiteX1" fmla="*/ 0 w 4533261"/>
                <a:gd name="connsiteY1" fmla="*/ 1214438 h 1214438"/>
                <a:gd name="connsiteX2" fmla="*/ 4533261 w 4533261"/>
                <a:gd name="connsiteY2" fmla="*/ 1098859 h 1214438"/>
                <a:gd name="connsiteX3" fmla="*/ 3352801 w 4533261"/>
                <a:gd name="connsiteY3" fmla="*/ 0 h 1214438"/>
              </a:gdLst>
              <a:ahLst/>
              <a:cxnLst>
                <a:cxn ang="0">
                  <a:pos x="connsiteX0" y="connsiteY0"/>
                </a:cxn>
                <a:cxn ang="0">
                  <a:pos x="connsiteX1" y="connsiteY1"/>
                </a:cxn>
                <a:cxn ang="0">
                  <a:pos x="connsiteX2" y="connsiteY2"/>
                </a:cxn>
                <a:cxn ang="0">
                  <a:pos x="connsiteX3" y="connsiteY3"/>
                </a:cxn>
              </a:cxnLst>
              <a:rect l="l" t="t" r="r" b="b"/>
              <a:pathLst>
                <a:path w="4533261" h="1214438">
                  <a:moveTo>
                    <a:pt x="3352801" y="0"/>
                  </a:moveTo>
                  <a:lnTo>
                    <a:pt x="0" y="1214438"/>
                  </a:lnTo>
                  <a:lnTo>
                    <a:pt x="4533261" y="1098859"/>
                  </a:lnTo>
                  <a:lnTo>
                    <a:pt x="3352801" y="0"/>
                  </a:lnTo>
                  <a:close/>
                </a:path>
              </a:pathLst>
            </a:custGeom>
            <a:gradFill>
              <a:gsLst>
                <a:gs pos="100000">
                  <a:schemeClr val="accent3"/>
                </a:gs>
                <a:gs pos="44000">
                  <a:schemeClr val="accent2"/>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8" name="Freeform 17"/>
            <p:cNvSpPr/>
            <p:nvPr/>
          </p:nvSpPr>
          <p:spPr>
            <a:xfrm>
              <a:off x="11015664" y="1"/>
              <a:ext cx="1176841" cy="1098080"/>
            </a:xfrm>
            <a:custGeom>
              <a:avLst/>
              <a:gdLst>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1575"/>
                <a:gd name="connsiteY0" fmla="*/ 0 h 1076325"/>
                <a:gd name="connsiteX1" fmla="*/ 1171575 w 1171575"/>
                <a:gd name="connsiteY1" fmla="*/ 1076325 h 1076325"/>
                <a:gd name="connsiteX2" fmla="*/ 1171575 w 1171575"/>
                <a:gd name="connsiteY2" fmla="*/ 0 h 1076325"/>
                <a:gd name="connsiteX3" fmla="*/ 0 w 1171575"/>
                <a:gd name="connsiteY3" fmla="*/ 0 h 1076325"/>
                <a:gd name="connsiteX0" fmla="*/ 0 w 1176299"/>
                <a:gd name="connsiteY0" fmla="*/ 0 h 1085850"/>
                <a:gd name="connsiteX1" fmla="*/ 1176299 w 1176299"/>
                <a:gd name="connsiteY1" fmla="*/ 1085850 h 1085850"/>
                <a:gd name="connsiteX2" fmla="*/ 1171575 w 1176299"/>
                <a:gd name="connsiteY2" fmla="*/ 0 h 1085850"/>
                <a:gd name="connsiteX3" fmla="*/ 0 w 1176299"/>
                <a:gd name="connsiteY3" fmla="*/ 0 h 1085850"/>
                <a:gd name="connsiteX0" fmla="*/ 0 w 1181344"/>
                <a:gd name="connsiteY0" fmla="*/ 0 h 1085850"/>
                <a:gd name="connsiteX1" fmla="*/ 1176299 w 1181344"/>
                <a:gd name="connsiteY1" fmla="*/ 1085850 h 1085850"/>
                <a:gd name="connsiteX2" fmla="*/ 1181138 w 1181344"/>
                <a:gd name="connsiteY2" fmla="*/ 0 h 1085850"/>
                <a:gd name="connsiteX3" fmla="*/ 0 w 1181344"/>
                <a:gd name="connsiteY3" fmla="*/ 0 h 1085850"/>
                <a:gd name="connsiteX0" fmla="*/ 0 w 1181586"/>
                <a:gd name="connsiteY0" fmla="*/ 0 h 1081088"/>
                <a:gd name="connsiteX1" fmla="*/ 1181080 w 1181586"/>
                <a:gd name="connsiteY1" fmla="*/ 1081088 h 1081088"/>
                <a:gd name="connsiteX2" fmla="*/ 1181138 w 1181586"/>
                <a:gd name="connsiteY2" fmla="*/ 0 h 1081088"/>
                <a:gd name="connsiteX3" fmla="*/ 0 w 1181586"/>
                <a:gd name="connsiteY3" fmla="*/ 0 h 1081088"/>
                <a:gd name="connsiteX0" fmla="*/ 0 w 1181586"/>
                <a:gd name="connsiteY0" fmla="*/ 0 h 1070785"/>
                <a:gd name="connsiteX1" fmla="*/ 1181080 w 1181586"/>
                <a:gd name="connsiteY1" fmla="*/ 1070785 h 1070785"/>
                <a:gd name="connsiteX2" fmla="*/ 1181138 w 1181586"/>
                <a:gd name="connsiteY2" fmla="*/ 0 h 1070785"/>
                <a:gd name="connsiteX3" fmla="*/ 0 w 1181586"/>
                <a:gd name="connsiteY3" fmla="*/ 0 h 1070785"/>
                <a:gd name="connsiteX0" fmla="*/ 0 w 1181152"/>
                <a:gd name="connsiteY0" fmla="*/ 0 h 593113"/>
                <a:gd name="connsiteX1" fmla="*/ 1057755 w 1181152"/>
                <a:gd name="connsiteY1" fmla="*/ 593113 h 593113"/>
                <a:gd name="connsiteX2" fmla="*/ 1181138 w 1181152"/>
                <a:gd name="connsiteY2" fmla="*/ 0 h 593113"/>
                <a:gd name="connsiteX3" fmla="*/ 0 w 1181152"/>
                <a:gd name="connsiteY3" fmla="*/ 0 h 593113"/>
                <a:gd name="connsiteX0" fmla="*/ 0 w 1181586"/>
                <a:gd name="connsiteY0" fmla="*/ 0 h 1098080"/>
                <a:gd name="connsiteX1" fmla="*/ 1181081 w 1181586"/>
                <a:gd name="connsiteY1" fmla="*/ 1098080 h 1098080"/>
                <a:gd name="connsiteX2" fmla="*/ 1181138 w 1181586"/>
                <a:gd name="connsiteY2" fmla="*/ 0 h 1098080"/>
                <a:gd name="connsiteX3" fmla="*/ 0 w 1181586"/>
                <a:gd name="connsiteY3" fmla="*/ 0 h 1098080"/>
              </a:gdLst>
              <a:ahLst/>
              <a:cxnLst>
                <a:cxn ang="0">
                  <a:pos x="connsiteX0" y="connsiteY0"/>
                </a:cxn>
                <a:cxn ang="0">
                  <a:pos x="connsiteX1" y="connsiteY1"/>
                </a:cxn>
                <a:cxn ang="0">
                  <a:pos x="connsiteX2" y="connsiteY2"/>
                </a:cxn>
                <a:cxn ang="0">
                  <a:pos x="connsiteX3" y="connsiteY3"/>
                </a:cxn>
              </a:cxnLst>
              <a:rect l="l" t="t" r="r" b="b"/>
              <a:pathLst>
                <a:path w="1181586" h="1098080">
                  <a:moveTo>
                    <a:pt x="0" y="0"/>
                  </a:moveTo>
                  <a:lnTo>
                    <a:pt x="1181081" y="1098080"/>
                  </a:lnTo>
                  <a:cubicBezTo>
                    <a:pt x="1179506" y="736130"/>
                    <a:pt x="1182713" y="361950"/>
                    <a:pt x="1181138" y="0"/>
                  </a:cubicBezTo>
                  <a:lnTo>
                    <a:pt x="0" y="0"/>
                  </a:lnTo>
                  <a:close/>
                </a:path>
              </a:pathLst>
            </a:custGeom>
            <a:gradFill>
              <a:gsLst>
                <a:gs pos="100000">
                  <a:schemeClr val="accent3"/>
                </a:gs>
                <a:gs pos="44000">
                  <a:schemeClr val="accent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9" name="Freeform 18"/>
            <p:cNvSpPr/>
            <p:nvPr/>
          </p:nvSpPr>
          <p:spPr>
            <a:xfrm>
              <a:off x="10959906" y="1057275"/>
              <a:ext cx="1232552" cy="3276600"/>
            </a:xfrm>
            <a:custGeom>
              <a:avLst/>
              <a:gdLst>
                <a:gd name="connsiteX0" fmla="*/ 1171575 w 1176337"/>
                <a:gd name="connsiteY0" fmla="*/ 0 h 3267075"/>
                <a:gd name="connsiteX1" fmla="*/ 0 w 1176337"/>
                <a:gd name="connsiteY1" fmla="*/ 2762250 h 3267075"/>
                <a:gd name="connsiteX2" fmla="*/ 1176337 w 1176337"/>
                <a:gd name="connsiteY2" fmla="*/ 3267075 h 3267075"/>
                <a:gd name="connsiteX3" fmla="*/ 1171575 w 1176337"/>
                <a:gd name="connsiteY3" fmla="*/ 0 h 3267075"/>
                <a:gd name="connsiteX0" fmla="*/ 1176337 w 1176795"/>
                <a:gd name="connsiteY0" fmla="*/ 0 h 3276600"/>
                <a:gd name="connsiteX1" fmla="*/ 0 w 1176795"/>
                <a:gd name="connsiteY1" fmla="*/ 2771775 h 3276600"/>
                <a:gd name="connsiteX2" fmla="*/ 1176337 w 1176795"/>
                <a:gd name="connsiteY2" fmla="*/ 3276600 h 3276600"/>
                <a:gd name="connsiteX3" fmla="*/ 1176337 w 1176795"/>
                <a:gd name="connsiteY3" fmla="*/ 0 h 3276600"/>
                <a:gd name="connsiteX0" fmla="*/ 1209791 w 1210249"/>
                <a:gd name="connsiteY0" fmla="*/ 0 h 3276600"/>
                <a:gd name="connsiteX1" fmla="*/ 0 w 1210249"/>
                <a:gd name="connsiteY1" fmla="*/ 2771775 h 3276600"/>
                <a:gd name="connsiteX2" fmla="*/ 1209791 w 1210249"/>
                <a:gd name="connsiteY2" fmla="*/ 3276600 h 3276600"/>
                <a:gd name="connsiteX3" fmla="*/ 1209791 w 1210249"/>
                <a:gd name="connsiteY3" fmla="*/ 0 h 3276600"/>
                <a:gd name="connsiteX0" fmla="*/ 1232094 w 1232552"/>
                <a:gd name="connsiteY0" fmla="*/ 0 h 3276600"/>
                <a:gd name="connsiteX1" fmla="*/ 0 w 1232552"/>
                <a:gd name="connsiteY1" fmla="*/ 2749472 h 3276600"/>
                <a:gd name="connsiteX2" fmla="*/ 1232094 w 1232552"/>
                <a:gd name="connsiteY2" fmla="*/ 3276600 h 3276600"/>
                <a:gd name="connsiteX3" fmla="*/ 1232094 w 1232552"/>
                <a:gd name="connsiteY3" fmla="*/ 0 h 3276600"/>
              </a:gdLst>
              <a:ahLst/>
              <a:cxnLst>
                <a:cxn ang="0">
                  <a:pos x="connsiteX0" y="connsiteY0"/>
                </a:cxn>
                <a:cxn ang="0">
                  <a:pos x="connsiteX1" y="connsiteY1"/>
                </a:cxn>
                <a:cxn ang="0">
                  <a:pos x="connsiteX2" y="connsiteY2"/>
                </a:cxn>
                <a:cxn ang="0">
                  <a:pos x="connsiteX3" y="connsiteY3"/>
                </a:cxn>
              </a:cxnLst>
              <a:rect l="l" t="t" r="r" b="b"/>
              <a:pathLst>
                <a:path w="1232552" h="3276600">
                  <a:moveTo>
                    <a:pt x="1232094" y="0"/>
                  </a:moveTo>
                  <a:lnTo>
                    <a:pt x="0" y="2749472"/>
                  </a:lnTo>
                  <a:lnTo>
                    <a:pt x="1232094" y="3276600"/>
                  </a:lnTo>
                  <a:cubicBezTo>
                    <a:pt x="1230507" y="2187575"/>
                    <a:pt x="1233681" y="1089025"/>
                    <a:pt x="1232094" y="0"/>
                  </a:cubicBez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0" name="Freeform 19"/>
            <p:cNvSpPr/>
            <p:nvPr/>
          </p:nvSpPr>
          <p:spPr>
            <a:xfrm>
              <a:off x="6366969" y="2428875"/>
              <a:ext cx="3339005" cy="2271713"/>
            </a:xfrm>
            <a:custGeom>
              <a:avLst/>
              <a:gdLst>
                <a:gd name="connsiteX0" fmla="*/ 0 w 3324225"/>
                <a:gd name="connsiteY0" fmla="*/ 590550 h 2271713"/>
                <a:gd name="connsiteX1" fmla="*/ 1343025 w 3324225"/>
                <a:gd name="connsiteY1" fmla="*/ 2271713 h 2271713"/>
                <a:gd name="connsiteX2" fmla="*/ 3324225 w 3324225"/>
                <a:gd name="connsiteY2" fmla="*/ 0 h 2271713"/>
                <a:gd name="connsiteX3" fmla="*/ 0 w 3324225"/>
                <a:gd name="connsiteY3" fmla="*/ 590550 h 2271713"/>
                <a:gd name="connsiteX0" fmla="*/ 0 w 3333750"/>
                <a:gd name="connsiteY0" fmla="*/ 585787 h 2271713"/>
                <a:gd name="connsiteX1" fmla="*/ 1352550 w 3333750"/>
                <a:gd name="connsiteY1" fmla="*/ 2271713 h 2271713"/>
                <a:gd name="connsiteX2" fmla="*/ 3333750 w 3333750"/>
                <a:gd name="connsiteY2" fmla="*/ 0 h 2271713"/>
                <a:gd name="connsiteX3" fmla="*/ 0 w 3333750"/>
                <a:gd name="connsiteY3" fmla="*/ 585787 h 2271713"/>
                <a:gd name="connsiteX0" fmla="*/ 0 w 3333750"/>
                <a:gd name="connsiteY0" fmla="*/ 591043 h 2271713"/>
                <a:gd name="connsiteX1" fmla="*/ 1352550 w 3333750"/>
                <a:gd name="connsiteY1" fmla="*/ 2271713 h 2271713"/>
                <a:gd name="connsiteX2" fmla="*/ 3333750 w 3333750"/>
                <a:gd name="connsiteY2" fmla="*/ 0 h 2271713"/>
                <a:gd name="connsiteX3" fmla="*/ 0 w 3333750"/>
                <a:gd name="connsiteY3" fmla="*/ 591043 h 2271713"/>
                <a:gd name="connsiteX0" fmla="*/ 0 w 3339005"/>
                <a:gd name="connsiteY0" fmla="*/ 591043 h 2271713"/>
                <a:gd name="connsiteX1" fmla="*/ 1357805 w 3339005"/>
                <a:gd name="connsiteY1" fmla="*/ 2271713 h 2271713"/>
                <a:gd name="connsiteX2" fmla="*/ 3339005 w 3339005"/>
                <a:gd name="connsiteY2" fmla="*/ 0 h 2271713"/>
                <a:gd name="connsiteX3" fmla="*/ 0 w 3339005"/>
                <a:gd name="connsiteY3" fmla="*/ 591043 h 2271713"/>
              </a:gdLst>
              <a:ahLst/>
              <a:cxnLst>
                <a:cxn ang="0">
                  <a:pos x="connsiteX0" y="connsiteY0"/>
                </a:cxn>
                <a:cxn ang="0">
                  <a:pos x="connsiteX1" y="connsiteY1"/>
                </a:cxn>
                <a:cxn ang="0">
                  <a:pos x="connsiteX2" y="connsiteY2"/>
                </a:cxn>
                <a:cxn ang="0">
                  <a:pos x="connsiteX3" y="connsiteY3"/>
                </a:cxn>
              </a:cxnLst>
              <a:rect l="l" t="t" r="r" b="b"/>
              <a:pathLst>
                <a:path w="3339005" h="2271713">
                  <a:moveTo>
                    <a:pt x="0" y="591043"/>
                  </a:moveTo>
                  <a:lnTo>
                    <a:pt x="1357805" y="2271713"/>
                  </a:lnTo>
                  <a:lnTo>
                    <a:pt x="3339005" y="0"/>
                  </a:lnTo>
                  <a:lnTo>
                    <a:pt x="0" y="591043"/>
                  </a:lnTo>
                  <a:close/>
                </a:path>
              </a:pathLst>
            </a:custGeom>
            <a:gradFill>
              <a:gsLst>
                <a:gs pos="100000">
                  <a:schemeClr val="accent3"/>
                </a:gs>
                <a:gs pos="44000">
                  <a:schemeClr val="accent2"/>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1" name="Freeform 20"/>
            <p:cNvSpPr/>
            <p:nvPr/>
          </p:nvSpPr>
          <p:spPr>
            <a:xfrm>
              <a:off x="1025774" y="1761707"/>
              <a:ext cx="2098477" cy="1910094"/>
            </a:xfrm>
            <a:custGeom>
              <a:avLst/>
              <a:gdLst>
                <a:gd name="connsiteX0" fmla="*/ 2086304 w 2086304"/>
                <a:gd name="connsiteY0" fmla="*/ 0 h 1886607"/>
                <a:gd name="connsiteX1" fmla="*/ 0 w 2086304"/>
                <a:gd name="connsiteY1" fmla="*/ 15765 h 1886607"/>
                <a:gd name="connsiteX2" fmla="*/ 362607 w 2086304"/>
                <a:gd name="connsiteY2" fmla="*/ 1886607 h 1886607"/>
                <a:gd name="connsiteX3" fmla="*/ 2086304 w 2086304"/>
                <a:gd name="connsiteY3" fmla="*/ 0 h 1886607"/>
                <a:gd name="connsiteX0" fmla="*/ 2101053 w 2101053"/>
                <a:gd name="connsiteY0" fmla="*/ 0 h 1886607"/>
                <a:gd name="connsiteX1" fmla="*/ 0 w 2101053"/>
                <a:gd name="connsiteY1" fmla="*/ 1207 h 1886607"/>
                <a:gd name="connsiteX2" fmla="*/ 377356 w 2101053"/>
                <a:gd name="connsiteY2" fmla="*/ 1886607 h 1886607"/>
                <a:gd name="connsiteX3" fmla="*/ 2101053 w 2101053"/>
                <a:gd name="connsiteY3" fmla="*/ 0 h 1886607"/>
                <a:gd name="connsiteX0" fmla="*/ 2098477 w 2098477"/>
                <a:gd name="connsiteY0" fmla="*/ 8963 h 1885400"/>
                <a:gd name="connsiteX1" fmla="*/ 0 w 2098477"/>
                <a:gd name="connsiteY1" fmla="*/ 0 h 1885400"/>
                <a:gd name="connsiteX2" fmla="*/ 377356 w 2098477"/>
                <a:gd name="connsiteY2" fmla="*/ 1885400 h 1885400"/>
                <a:gd name="connsiteX3" fmla="*/ 2098477 w 2098477"/>
                <a:gd name="connsiteY3" fmla="*/ 8963 h 1885400"/>
              </a:gdLst>
              <a:ahLst/>
              <a:cxnLst>
                <a:cxn ang="0">
                  <a:pos x="connsiteX0" y="connsiteY0"/>
                </a:cxn>
                <a:cxn ang="0">
                  <a:pos x="connsiteX1" y="connsiteY1"/>
                </a:cxn>
                <a:cxn ang="0">
                  <a:pos x="connsiteX2" y="connsiteY2"/>
                </a:cxn>
                <a:cxn ang="0">
                  <a:pos x="connsiteX3" y="connsiteY3"/>
                </a:cxn>
              </a:cxnLst>
              <a:rect l="l" t="t" r="r" b="b"/>
              <a:pathLst>
                <a:path w="2098477" h="1885400">
                  <a:moveTo>
                    <a:pt x="2098477" y="8963"/>
                  </a:moveTo>
                  <a:lnTo>
                    <a:pt x="0" y="0"/>
                  </a:lnTo>
                  <a:lnTo>
                    <a:pt x="377356" y="1885400"/>
                  </a:lnTo>
                  <a:lnTo>
                    <a:pt x="2098477" y="8963"/>
                  </a:lnTo>
                  <a:close/>
                </a:path>
              </a:pathLst>
            </a:custGeom>
            <a:gradFill>
              <a:gsLst>
                <a:gs pos="100000">
                  <a:schemeClr val="accent3"/>
                </a:gs>
                <a:gs pos="44000">
                  <a:schemeClr val="accent2"/>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2" name="Freeform 21"/>
            <p:cNvSpPr/>
            <p:nvPr/>
          </p:nvSpPr>
          <p:spPr>
            <a:xfrm>
              <a:off x="3532" y="4857972"/>
              <a:ext cx="4090198" cy="2007612"/>
            </a:xfrm>
            <a:custGeom>
              <a:avLst/>
              <a:gdLst>
                <a:gd name="connsiteX0" fmla="*/ 3576398 w 4077729"/>
                <a:gd name="connsiteY0" fmla="*/ 0 h 1994733"/>
                <a:gd name="connsiteX1" fmla="*/ 4077729 w 4077729"/>
                <a:gd name="connsiteY1" fmla="*/ 1101516 h 1994733"/>
                <a:gd name="connsiteX2" fmla="*/ 0 w 4077729"/>
                <a:gd name="connsiteY2" fmla="*/ 1994733 h 1994733"/>
                <a:gd name="connsiteX3" fmla="*/ 3576398 w 4077729"/>
                <a:gd name="connsiteY3" fmla="*/ 0 h 1994733"/>
                <a:gd name="connsiteX0" fmla="*/ 3576398 w 4086042"/>
                <a:gd name="connsiteY0" fmla="*/ 0 h 1994733"/>
                <a:gd name="connsiteX1" fmla="*/ 4086042 w 4086042"/>
                <a:gd name="connsiteY1" fmla="*/ 1093204 h 1994733"/>
                <a:gd name="connsiteX2" fmla="*/ 0 w 4086042"/>
                <a:gd name="connsiteY2" fmla="*/ 1994733 h 1994733"/>
                <a:gd name="connsiteX3" fmla="*/ 3576398 w 4086042"/>
                <a:gd name="connsiteY3" fmla="*/ 0 h 1994733"/>
                <a:gd name="connsiteX0" fmla="*/ 3576398 w 4090198"/>
                <a:gd name="connsiteY0" fmla="*/ 0 h 1994733"/>
                <a:gd name="connsiteX1" fmla="*/ 4090198 w 4090198"/>
                <a:gd name="connsiteY1" fmla="*/ 1084892 h 1994733"/>
                <a:gd name="connsiteX2" fmla="*/ 0 w 4090198"/>
                <a:gd name="connsiteY2" fmla="*/ 1994733 h 1994733"/>
                <a:gd name="connsiteX3" fmla="*/ 3576398 w 4090198"/>
                <a:gd name="connsiteY3" fmla="*/ 0 h 1994733"/>
                <a:gd name="connsiteX0" fmla="*/ 3576398 w 4090198"/>
                <a:gd name="connsiteY0" fmla="*/ 0 h 2007612"/>
                <a:gd name="connsiteX1" fmla="*/ 4090198 w 4090198"/>
                <a:gd name="connsiteY1" fmla="*/ 1084892 h 2007612"/>
                <a:gd name="connsiteX2" fmla="*/ 0 w 4090198"/>
                <a:gd name="connsiteY2" fmla="*/ 2007612 h 2007612"/>
                <a:gd name="connsiteX3" fmla="*/ 3576398 w 4090198"/>
                <a:gd name="connsiteY3" fmla="*/ 0 h 2007612"/>
              </a:gdLst>
              <a:ahLst/>
              <a:cxnLst>
                <a:cxn ang="0">
                  <a:pos x="connsiteX0" y="connsiteY0"/>
                </a:cxn>
                <a:cxn ang="0">
                  <a:pos x="connsiteX1" y="connsiteY1"/>
                </a:cxn>
                <a:cxn ang="0">
                  <a:pos x="connsiteX2" y="connsiteY2"/>
                </a:cxn>
                <a:cxn ang="0">
                  <a:pos x="connsiteX3" y="connsiteY3"/>
                </a:cxn>
              </a:cxnLst>
              <a:rect l="l" t="t" r="r" b="b"/>
              <a:pathLst>
                <a:path w="4090198" h="2007612">
                  <a:moveTo>
                    <a:pt x="3576398" y="0"/>
                  </a:moveTo>
                  <a:lnTo>
                    <a:pt x="4090198" y="1084892"/>
                  </a:lnTo>
                  <a:lnTo>
                    <a:pt x="0" y="2007612"/>
                  </a:lnTo>
                  <a:lnTo>
                    <a:pt x="3576398"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3" name="Freeform 22"/>
            <p:cNvSpPr/>
            <p:nvPr/>
          </p:nvSpPr>
          <p:spPr>
            <a:xfrm>
              <a:off x="-6301" y="5938309"/>
              <a:ext cx="4092304" cy="924304"/>
            </a:xfrm>
            <a:custGeom>
              <a:avLst/>
              <a:gdLst>
                <a:gd name="connsiteX0" fmla="*/ 4074199 w 4074199"/>
                <a:gd name="connsiteY0" fmla="*/ 0 h 907339"/>
                <a:gd name="connsiteX1" fmla="*/ 3357507 w 4074199"/>
                <a:gd name="connsiteY1" fmla="*/ 907339 h 907339"/>
                <a:gd name="connsiteX2" fmla="*/ 0 w 4074199"/>
                <a:gd name="connsiteY2" fmla="*/ 907339 h 907339"/>
                <a:gd name="connsiteX3" fmla="*/ 4074199 w 4074199"/>
                <a:gd name="connsiteY3" fmla="*/ 0 h 907339"/>
                <a:gd name="connsiteX0" fmla="*/ 4084791 w 4084791"/>
                <a:gd name="connsiteY0" fmla="*/ 0 h 907339"/>
                <a:gd name="connsiteX1" fmla="*/ 3368099 w 4084791"/>
                <a:gd name="connsiteY1" fmla="*/ 907339 h 907339"/>
                <a:gd name="connsiteX2" fmla="*/ 0 w 4084791"/>
                <a:gd name="connsiteY2" fmla="*/ 907339 h 907339"/>
                <a:gd name="connsiteX3" fmla="*/ 4084791 w 4084791"/>
                <a:gd name="connsiteY3" fmla="*/ 0 h 907339"/>
                <a:gd name="connsiteX0" fmla="*/ 4100031 w 4100031"/>
                <a:gd name="connsiteY0" fmla="*/ 0 h 907339"/>
                <a:gd name="connsiteX1" fmla="*/ 3368099 w 4100031"/>
                <a:gd name="connsiteY1" fmla="*/ 907339 h 907339"/>
                <a:gd name="connsiteX2" fmla="*/ 0 w 4100031"/>
                <a:gd name="connsiteY2" fmla="*/ 907339 h 907339"/>
                <a:gd name="connsiteX3" fmla="*/ 4100031 w 4100031"/>
                <a:gd name="connsiteY3" fmla="*/ 0 h 907339"/>
                <a:gd name="connsiteX0" fmla="*/ 4102607 w 4102607"/>
                <a:gd name="connsiteY0" fmla="*/ 0 h 907339"/>
                <a:gd name="connsiteX1" fmla="*/ 3370675 w 4102607"/>
                <a:gd name="connsiteY1" fmla="*/ 907339 h 907339"/>
                <a:gd name="connsiteX2" fmla="*/ 0 w 4102607"/>
                <a:gd name="connsiteY2" fmla="*/ 857464 h 907339"/>
                <a:gd name="connsiteX3" fmla="*/ 4102607 w 4102607"/>
                <a:gd name="connsiteY3" fmla="*/ 0 h 907339"/>
                <a:gd name="connsiteX0" fmla="*/ 4097455 w 4097455"/>
                <a:gd name="connsiteY0" fmla="*/ 0 h 907339"/>
                <a:gd name="connsiteX1" fmla="*/ 3365523 w 4097455"/>
                <a:gd name="connsiteY1" fmla="*/ 907339 h 907339"/>
                <a:gd name="connsiteX2" fmla="*/ 0 w 4097455"/>
                <a:gd name="connsiteY2" fmla="*/ 859958 h 907339"/>
                <a:gd name="connsiteX3" fmla="*/ 4097455 w 4097455"/>
                <a:gd name="connsiteY3" fmla="*/ 0 h 907339"/>
                <a:gd name="connsiteX0" fmla="*/ 4097455 w 4097455"/>
                <a:gd name="connsiteY0" fmla="*/ 0 h 862451"/>
                <a:gd name="connsiteX1" fmla="*/ 3411887 w 4097455"/>
                <a:gd name="connsiteY1" fmla="*/ 862451 h 862451"/>
                <a:gd name="connsiteX2" fmla="*/ 0 w 4097455"/>
                <a:gd name="connsiteY2" fmla="*/ 859958 h 862451"/>
                <a:gd name="connsiteX3" fmla="*/ 4097455 w 4097455"/>
                <a:gd name="connsiteY3" fmla="*/ 0 h 862451"/>
                <a:gd name="connsiteX0" fmla="*/ 4089728 w 4089728"/>
                <a:gd name="connsiteY0" fmla="*/ 0 h 892377"/>
                <a:gd name="connsiteX1" fmla="*/ 3411887 w 4089728"/>
                <a:gd name="connsiteY1" fmla="*/ 892377 h 892377"/>
                <a:gd name="connsiteX2" fmla="*/ 0 w 4089728"/>
                <a:gd name="connsiteY2" fmla="*/ 889884 h 892377"/>
                <a:gd name="connsiteX3" fmla="*/ 4089728 w 4089728"/>
                <a:gd name="connsiteY3" fmla="*/ 0 h 892377"/>
                <a:gd name="connsiteX0" fmla="*/ 4089728 w 4089728"/>
                <a:gd name="connsiteY0" fmla="*/ 0 h 892377"/>
                <a:gd name="connsiteX1" fmla="*/ 3424766 w 4089728"/>
                <a:gd name="connsiteY1" fmla="*/ 892377 h 892377"/>
                <a:gd name="connsiteX2" fmla="*/ 0 w 4089728"/>
                <a:gd name="connsiteY2" fmla="*/ 889884 h 892377"/>
                <a:gd name="connsiteX3" fmla="*/ 4089728 w 4089728"/>
                <a:gd name="connsiteY3" fmla="*/ 0 h 892377"/>
                <a:gd name="connsiteX0" fmla="*/ 4089728 w 4089728"/>
                <a:gd name="connsiteY0" fmla="*/ 0 h 889884"/>
                <a:gd name="connsiteX1" fmla="*/ 3360372 w 4089728"/>
                <a:gd name="connsiteY1" fmla="*/ 889884 h 889884"/>
                <a:gd name="connsiteX2" fmla="*/ 0 w 4089728"/>
                <a:gd name="connsiteY2" fmla="*/ 889884 h 889884"/>
                <a:gd name="connsiteX3" fmla="*/ 4089728 w 4089728"/>
                <a:gd name="connsiteY3" fmla="*/ 0 h 889884"/>
                <a:gd name="connsiteX0" fmla="*/ 4079425 w 4079425"/>
                <a:gd name="connsiteY0" fmla="*/ 0 h 889884"/>
                <a:gd name="connsiteX1" fmla="*/ 3350069 w 4079425"/>
                <a:gd name="connsiteY1" fmla="*/ 889884 h 889884"/>
                <a:gd name="connsiteX2" fmla="*/ 0 w 4079425"/>
                <a:gd name="connsiteY2" fmla="*/ 882403 h 889884"/>
                <a:gd name="connsiteX3" fmla="*/ 4079425 w 4079425"/>
                <a:gd name="connsiteY3" fmla="*/ 0 h 889884"/>
                <a:gd name="connsiteX0" fmla="*/ 4082000 w 4082000"/>
                <a:gd name="connsiteY0" fmla="*/ 0 h 889884"/>
                <a:gd name="connsiteX1" fmla="*/ 3352644 w 4082000"/>
                <a:gd name="connsiteY1" fmla="*/ 889884 h 889884"/>
                <a:gd name="connsiteX2" fmla="*/ 0 w 4082000"/>
                <a:gd name="connsiteY2" fmla="*/ 882403 h 889884"/>
                <a:gd name="connsiteX3" fmla="*/ 4082000 w 4082000"/>
                <a:gd name="connsiteY3" fmla="*/ 0 h 889884"/>
                <a:gd name="connsiteX0" fmla="*/ 4087152 w 4087152"/>
                <a:gd name="connsiteY0" fmla="*/ 0 h 1007091"/>
                <a:gd name="connsiteX1" fmla="*/ 3357796 w 4087152"/>
                <a:gd name="connsiteY1" fmla="*/ 889884 h 1007091"/>
                <a:gd name="connsiteX2" fmla="*/ 0 w 4087152"/>
                <a:gd name="connsiteY2" fmla="*/ 1007091 h 1007091"/>
                <a:gd name="connsiteX3" fmla="*/ 4087152 w 4087152"/>
                <a:gd name="connsiteY3" fmla="*/ 0 h 1007091"/>
                <a:gd name="connsiteX0" fmla="*/ 4092304 w 4092304"/>
                <a:gd name="connsiteY0" fmla="*/ 0 h 894872"/>
                <a:gd name="connsiteX1" fmla="*/ 3362948 w 4092304"/>
                <a:gd name="connsiteY1" fmla="*/ 889884 h 894872"/>
                <a:gd name="connsiteX2" fmla="*/ 0 w 4092304"/>
                <a:gd name="connsiteY2" fmla="*/ 894872 h 894872"/>
                <a:gd name="connsiteX3" fmla="*/ 4092304 w 4092304"/>
                <a:gd name="connsiteY3" fmla="*/ 0 h 894872"/>
              </a:gdLst>
              <a:ahLst/>
              <a:cxnLst>
                <a:cxn ang="0">
                  <a:pos x="connsiteX0" y="connsiteY0"/>
                </a:cxn>
                <a:cxn ang="0">
                  <a:pos x="connsiteX1" y="connsiteY1"/>
                </a:cxn>
                <a:cxn ang="0">
                  <a:pos x="connsiteX2" y="connsiteY2"/>
                </a:cxn>
                <a:cxn ang="0">
                  <a:pos x="connsiteX3" y="connsiteY3"/>
                </a:cxn>
              </a:cxnLst>
              <a:rect l="l" t="t" r="r" b="b"/>
              <a:pathLst>
                <a:path w="4092304" h="894872">
                  <a:moveTo>
                    <a:pt x="4092304" y="0"/>
                  </a:moveTo>
                  <a:lnTo>
                    <a:pt x="3362948" y="889884"/>
                  </a:lnTo>
                  <a:lnTo>
                    <a:pt x="0" y="894872"/>
                  </a:lnTo>
                  <a:lnTo>
                    <a:pt x="4092304" y="0"/>
                  </a:lnTo>
                  <a:close/>
                </a:path>
              </a:pathLst>
            </a:custGeom>
            <a:gradFill>
              <a:gsLst>
                <a:gs pos="100000">
                  <a:schemeClr val="accent3"/>
                </a:gs>
                <a:gs pos="44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4" name="Freeform 23"/>
            <p:cNvSpPr/>
            <p:nvPr/>
          </p:nvSpPr>
          <p:spPr>
            <a:xfrm>
              <a:off x="4102443" y="4914459"/>
              <a:ext cx="547228" cy="151811"/>
            </a:xfrm>
            <a:custGeom>
              <a:avLst/>
              <a:gdLst>
                <a:gd name="connsiteX0" fmla="*/ 0 w 547228"/>
                <a:gd name="connsiteY0" fmla="*/ 0 h 151811"/>
                <a:gd name="connsiteX1" fmla="*/ 547228 w 547228"/>
                <a:gd name="connsiteY1" fmla="*/ 70610 h 151811"/>
                <a:gd name="connsiteX2" fmla="*/ 526045 w 547228"/>
                <a:gd name="connsiteY2" fmla="*/ 151811 h 151811"/>
              </a:gdLst>
              <a:ahLst/>
              <a:cxnLst>
                <a:cxn ang="0">
                  <a:pos x="connsiteX0" y="connsiteY0"/>
                </a:cxn>
                <a:cxn ang="0">
                  <a:pos x="connsiteX1" y="connsiteY1"/>
                </a:cxn>
                <a:cxn ang="0">
                  <a:pos x="connsiteX2" y="connsiteY2"/>
                </a:cxn>
              </a:cxnLst>
              <a:rect l="l" t="t" r="r" b="b"/>
              <a:pathLst>
                <a:path w="547228" h="151811">
                  <a:moveTo>
                    <a:pt x="0" y="0"/>
                  </a:moveTo>
                  <a:lnTo>
                    <a:pt x="547228" y="70610"/>
                  </a:lnTo>
                  <a:lnTo>
                    <a:pt x="526045" y="151811"/>
                  </a:lnTo>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5" name="Freeform 24"/>
            <p:cNvSpPr/>
            <p:nvPr/>
          </p:nvSpPr>
          <p:spPr>
            <a:xfrm>
              <a:off x="3317876" y="5936217"/>
              <a:ext cx="5416584" cy="930949"/>
            </a:xfrm>
            <a:custGeom>
              <a:avLst/>
              <a:gdLst>
                <a:gd name="connsiteX0" fmla="*/ 683287 w 5365819"/>
                <a:gd name="connsiteY0" fmla="*/ 0 h 914400"/>
                <a:gd name="connsiteX1" fmla="*/ 5365819 w 5365819"/>
                <a:gd name="connsiteY1" fmla="*/ 904351 h 914400"/>
                <a:gd name="connsiteX2" fmla="*/ 0 w 5365819"/>
                <a:gd name="connsiteY2" fmla="*/ 914400 h 914400"/>
                <a:gd name="connsiteX3" fmla="*/ 683287 w 5365819"/>
                <a:gd name="connsiteY3" fmla="*/ 0 h 914400"/>
                <a:gd name="connsiteX0" fmla="*/ 711531 w 5394063"/>
                <a:gd name="connsiteY0" fmla="*/ 0 h 917930"/>
                <a:gd name="connsiteX1" fmla="*/ 5394063 w 5394063"/>
                <a:gd name="connsiteY1" fmla="*/ 904351 h 917930"/>
                <a:gd name="connsiteX2" fmla="*/ 0 w 5394063"/>
                <a:gd name="connsiteY2" fmla="*/ 917930 h 917930"/>
                <a:gd name="connsiteX3" fmla="*/ 711531 w 5394063"/>
                <a:gd name="connsiteY3" fmla="*/ 0 h 917930"/>
                <a:gd name="connsiteX0" fmla="*/ 725653 w 5394063"/>
                <a:gd name="connsiteY0" fmla="*/ 0 h 910869"/>
                <a:gd name="connsiteX1" fmla="*/ 5394063 w 5394063"/>
                <a:gd name="connsiteY1" fmla="*/ 897290 h 910869"/>
                <a:gd name="connsiteX2" fmla="*/ 0 w 5394063"/>
                <a:gd name="connsiteY2" fmla="*/ 910869 h 910869"/>
                <a:gd name="connsiteX3" fmla="*/ 725653 w 5394063"/>
                <a:gd name="connsiteY3" fmla="*/ 0 h 910869"/>
                <a:gd name="connsiteX0" fmla="*/ 725653 w 5376410"/>
                <a:gd name="connsiteY0" fmla="*/ 0 h 910869"/>
                <a:gd name="connsiteX1" fmla="*/ 5376410 w 5376410"/>
                <a:gd name="connsiteY1" fmla="*/ 907881 h 910869"/>
                <a:gd name="connsiteX2" fmla="*/ 0 w 5376410"/>
                <a:gd name="connsiteY2" fmla="*/ 910869 h 910869"/>
                <a:gd name="connsiteX3" fmla="*/ 725653 w 5376410"/>
                <a:gd name="connsiteY3" fmla="*/ 0 h 910869"/>
                <a:gd name="connsiteX0" fmla="*/ 783842 w 5376410"/>
                <a:gd name="connsiteY0" fmla="*/ 0 h 765396"/>
                <a:gd name="connsiteX1" fmla="*/ 5376410 w 5376410"/>
                <a:gd name="connsiteY1" fmla="*/ 762408 h 765396"/>
                <a:gd name="connsiteX2" fmla="*/ 0 w 5376410"/>
                <a:gd name="connsiteY2" fmla="*/ 765396 h 765396"/>
                <a:gd name="connsiteX3" fmla="*/ 783842 w 5376410"/>
                <a:gd name="connsiteY3" fmla="*/ 0 h 765396"/>
                <a:gd name="connsiteX0" fmla="*/ 729810 w 5376410"/>
                <a:gd name="connsiteY0" fmla="*/ 0 h 910869"/>
                <a:gd name="connsiteX1" fmla="*/ 5376410 w 5376410"/>
                <a:gd name="connsiteY1" fmla="*/ 907881 h 910869"/>
                <a:gd name="connsiteX2" fmla="*/ 0 w 5376410"/>
                <a:gd name="connsiteY2" fmla="*/ 910869 h 910869"/>
                <a:gd name="connsiteX3" fmla="*/ 729810 w 5376410"/>
                <a:gd name="connsiteY3" fmla="*/ 0 h 910869"/>
                <a:gd name="connsiteX0" fmla="*/ 714570 w 5376410"/>
                <a:gd name="connsiteY0" fmla="*/ 0 h 918489"/>
                <a:gd name="connsiteX1" fmla="*/ 5376410 w 5376410"/>
                <a:gd name="connsiteY1" fmla="*/ 915501 h 918489"/>
                <a:gd name="connsiteX2" fmla="*/ 0 w 5376410"/>
                <a:gd name="connsiteY2" fmla="*/ 918489 h 918489"/>
                <a:gd name="connsiteX3" fmla="*/ 714570 w 5376410"/>
                <a:gd name="connsiteY3" fmla="*/ 0 h 918489"/>
                <a:gd name="connsiteX0" fmla="*/ 809820 w 5376410"/>
                <a:gd name="connsiteY0" fmla="*/ 0 h 758469"/>
                <a:gd name="connsiteX1" fmla="*/ 5376410 w 5376410"/>
                <a:gd name="connsiteY1" fmla="*/ 755481 h 758469"/>
                <a:gd name="connsiteX2" fmla="*/ 0 w 5376410"/>
                <a:gd name="connsiteY2" fmla="*/ 758469 h 758469"/>
                <a:gd name="connsiteX3" fmla="*/ 809820 w 5376410"/>
                <a:gd name="connsiteY3" fmla="*/ 0 h 758469"/>
                <a:gd name="connsiteX0" fmla="*/ 710760 w 5376410"/>
                <a:gd name="connsiteY0" fmla="*/ 0 h 918489"/>
                <a:gd name="connsiteX1" fmla="*/ 5376410 w 5376410"/>
                <a:gd name="connsiteY1" fmla="*/ 915501 h 918489"/>
                <a:gd name="connsiteX2" fmla="*/ 0 w 5376410"/>
                <a:gd name="connsiteY2" fmla="*/ 918489 h 918489"/>
                <a:gd name="connsiteX3" fmla="*/ 710760 w 5376410"/>
                <a:gd name="connsiteY3" fmla="*/ 0 h 918489"/>
                <a:gd name="connsiteX0" fmla="*/ 722190 w 5376410"/>
                <a:gd name="connsiteY0" fmla="*/ 0 h 914679"/>
                <a:gd name="connsiteX1" fmla="*/ 5376410 w 5376410"/>
                <a:gd name="connsiteY1" fmla="*/ 911691 h 914679"/>
                <a:gd name="connsiteX2" fmla="*/ 0 w 5376410"/>
                <a:gd name="connsiteY2" fmla="*/ 914679 h 914679"/>
                <a:gd name="connsiteX3" fmla="*/ 722190 w 5376410"/>
                <a:gd name="connsiteY3" fmla="*/ 0 h 914679"/>
                <a:gd name="connsiteX0" fmla="*/ 735069 w 5389289"/>
                <a:gd name="connsiteY0" fmla="*/ 0 h 912104"/>
                <a:gd name="connsiteX1" fmla="*/ 5389289 w 5389289"/>
                <a:gd name="connsiteY1" fmla="*/ 911691 h 912104"/>
                <a:gd name="connsiteX2" fmla="*/ 0 w 5389289"/>
                <a:gd name="connsiteY2" fmla="*/ 912104 h 912104"/>
                <a:gd name="connsiteX3" fmla="*/ 735069 w 5389289"/>
                <a:gd name="connsiteY3" fmla="*/ 0 h 912104"/>
                <a:gd name="connsiteX0" fmla="*/ 735069 w 5389289"/>
                <a:gd name="connsiteY0" fmla="*/ 0 h 925339"/>
                <a:gd name="connsiteX1" fmla="*/ 5389289 w 5389289"/>
                <a:gd name="connsiteY1" fmla="*/ 925339 h 925339"/>
                <a:gd name="connsiteX2" fmla="*/ 0 w 5389289"/>
                <a:gd name="connsiteY2" fmla="*/ 912104 h 925339"/>
                <a:gd name="connsiteX3" fmla="*/ 735069 w 5389289"/>
                <a:gd name="connsiteY3" fmla="*/ 0 h 925339"/>
                <a:gd name="connsiteX0" fmla="*/ 762364 w 5416584"/>
                <a:gd name="connsiteY0" fmla="*/ 0 h 939400"/>
                <a:gd name="connsiteX1" fmla="*/ 5416584 w 5416584"/>
                <a:gd name="connsiteY1" fmla="*/ 925339 h 939400"/>
                <a:gd name="connsiteX2" fmla="*/ 0 w 5416584"/>
                <a:gd name="connsiteY2" fmla="*/ 939400 h 939400"/>
                <a:gd name="connsiteX3" fmla="*/ 762364 w 5416584"/>
                <a:gd name="connsiteY3" fmla="*/ 0 h 939400"/>
                <a:gd name="connsiteX0" fmla="*/ 762364 w 5416584"/>
                <a:gd name="connsiteY0" fmla="*/ 0 h 945010"/>
                <a:gd name="connsiteX1" fmla="*/ 5416584 w 5416584"/>
                <a:gd name="connsiteY1" fmla="*/ 930949 h 945010"/>
                <a:gd name="connsiteX2" fmla="*/ 0 w 5416584"/>
                <a:gd name="connsiteY2" fmla="*/ 945010 h 945010"/>
                <a:gd name="connsiteX3" fmla="*/ 762364 w 5416584"/>
                <a:gd name="connsiteY3" fmla="*/ 0 h 945010"/>
                <a:gd name="connsiteX0" fmla="*/ 762364 w 5416584"/>
                <a:gd name="connsiteY0" fmla="*/ 0 h 930949"/>
                <a:gd name="connsiteX1" fmla="*/ 5416584 w 5416584"/>
                <a:gd name="connsiteY1" fmla="*/ 930949 h 930949"/>
                <a:gd name="connsiteX2" fmla="*/ 0 w 5416584"/>
                <a:gd name="connsiteY2" fmla="*/ 921156 h 930949"/>
                <a:gd name="connsiteX3" fmla="*/ 762364 w 5416584"/>
                <a:gd name="connsiteY3" fmla="*/ 0 h 930949"/>
              </a:gdLst>
              <a:ahLst/>
              <a:cxnLst>
                <a:cxn ang="0">
                  <a:pos x="connsiteX0" y="connsiteY0"/>
                </a:cxn>
                <a:cxn ang="0">
                  <a:pos x="connsiteX1" y="connsiteY1"/>
                </a:cxn>
                <a:cxn ang="0">
                  <a:pos x="connsiteX2" y="connsiteY2"/>
                </a:cxn>
                <a:cxn ang="0">
                  <a:pos x="connsiteX3" y="connsiteY3"/>
                </a:cxn>
              </a:cxnLst>
              <a:rect l="l" t="t" r="r" b="b"/>
              <a:pathLst>
                <a:path w="5416584" h="930949">
                  <a:moveTo>
                    <a:pt x="762364" y="0"/>
                  </a:moveTo>
                  <a:lnTo>
                    <a:pt x="5416584" y="930949"/>
                  </a:lnTo>
                  <a:lnTo>
                    <a:pt x="0" y="921156"/>
                  </a:lnTo>
                  <a:lnTo>
                    <a:pt x="762364" y="0"/>
                  </a:ln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6" name="Freeform 25"/>
            <p:cNvSpPr/>
            <p:nvPr/>
          </p:nvSpPr>
          <p:spPr>
            <a:xfrm>
              <a:off x="10990536" y="3785435"/>
              <a:ext cx="1209457" cy="3091509"/>
            </a:xfrm>
            <a:custGeom>
              <a:avLst/>
              <a:gdLst>
                <a:gd name="connsiteX0" fmla="*/ 0 w 1182718"/>
                <a:gd name="connsiteY0" fmla="*/ 0 h 3032701"/>
                <a:gd name="connsiteX1" fmla="*/ 497800 w 1182718"/>
                <a:gd name="connsiteY1" fmla="*/ 3032701 h 3032701"/>
                <a:gd name="connsiteX2" fmla="*/ 1182718 w 1182718"/>
                <a:gd name="connsiteY2" fmla="*/ 515453 h 3032701"/>
                <a:gd name="connsiteX3" fmla="*/ 0 w 1182718"/>
                <a:gd name="connsiteY3" fmla="*/ 0 h 3032701"/>
                <a:gd name="connsiteX0" fmla="*/ 0 w 1179187"/>
                <a:gd name="connsiteY0" fmla="*/ 0 h 3029170"/>
                <a:gd name="connsiteX1" fmla="*/ 494269 w 1179187"/>
                <a:gd name="connsiteY1" fmla="*/ 3029170 h 3029170"/>
                <a:gd name="connsiteX2" fmla="*/ 1179187 w 1179187"/>
                <a:gd name="connsiteY2" fmla="*/ 511922 h 3029170"/>
                <a:gd name="connsiteX3" fmla="*/ 0 w 1179187"/>
                <a:gd name="connsiteY3" fmla="*/ 0 h 3029170"/>
                <a:gd name="connsiteX0" fmla="*/ 0 w 1179187"/>
                <a:gd name="connsiteY0" fmla="*/ 0 h 3039761"/>
                <a:gd name="connsiteX1" fmla="*/ 483677 w 1179187"/>
                <a:gd name="connsiteY1" fmla="*/ 3039761 h 3039761"/>
                <a:gd name="connsiteX2" fmla="*/ 1179187 w 1179187"/>
                <a:gd name="connsiteY2" fmla="*/ 511922 h 3039761"/>
                <a:gd name="connsiteX3" fmla="*/ 0 w 1179187"/>
                <a:gd name="connsiteY3" fmla="*/ 0 h 3039761"/>
                <a:gd name="connsiteX0" fmla="*/ 0 w 1190407"/>
                <a:gd name="connsiteY0" fmla="*/ 0 h 3039761"/>
                <a:gd name="connsiteX1" fmla="*/ 494897 w 1190407"/>
                <a:gd name="connsiteY1" fmla="*/ 3039761 h 3039761"/>
                <a:gd name="connsiteX2" fmla="*/ 1190407 w 1190407"/>
                <a:gd name="connsiteY2" fmla="*/ 511922 h 3039761"/>
                <a:gd name="connsiteX3" fmla="*/ 0 w 1190407"/>
                <a:gd name="connsiteY3" fmla="*/ 0 h 3039761"/>
                <a:gd name="connsiteX0" fmla="*/ 0 w 1203107"/>
                <a:gd name="connsiteY0" fmla="*/ 0 h 3065161"/>
                <a:gd name="connsiteX1" fmla="*/ 507597 w 1203107"/>
                <a:gd name="connsiteY1" fmla="*/ 3065161 h 3065161"/>
                <a:gd name="connsiteX2" fmla="*/ 1203107 w 1203107"/>
                <a:gd name="connsiteY2" fmla="*/ 537322 h 3065161"/>
                <a:gd name="connsiteX3" fmla="*/ 0 w 1203107"/>
                <a:gd name="connsiteY3" fmla="*/ 0 h 3065161"/>
                <a:gd name="connsiteX0" fmla="*/ 0 w 1209457"/>
                <a:gd name="connsiteY0" fmla="*/ 0 h 3065161"/>
                <a:gd name="connsiteX1" fmla="*/ 507597 w 1209457"/>
                <a:gd name="connsiteY1" fmla="*/ 3065161 h 3065161"/>
                <a:gd name="connsiteX2" fmla="*/ 1209457 w 1209457"/>
                <a:gd name="connsiteY2" fmla="*/ 543672 h 3065161"/>
                <a:gd name="connsiteX3" fmla="*/ 0 w 1209457"/>
                <a:gd name="connsiteY3" fmla="*/ 0 h 3065161"/>
                <a:gd name="connsiteX0" fmla="*/ 0 w 1215807"/>
                <a:gd name="connsiteY0" fmla="*/ 0 h 3065161"/>
                <a:gd name="connsiteX1" fmla="*/ 507597 w 1215807"/>
                <a:gd name="connsiteY1" fmla="*/ 3065161 h 3065161"/>
                <a:gd name="connsiteX2" fmla="*/ 1215807 w 1215807"/>
                <a:gd name="connsiteY2" fmla="*/ 537322 h 3065161"/>
                <a:gd name="connsiteX3" fmla="*/ 0 w 1215807"/>
                <a:gd name="connsiteY3" fmla="*/ 0 h 3065161"/>
                <a:gd name="connsiteX0" fmla="*/ 0 w 1209457"/>
                <a:gd name="connsiteY0" fmla="*/ 0 h 3077861"/>
                <a:gd name="connsiteX1" fmla="*/ 501247 w 1209457"/>
                <a:gd name="connsiteY1" fmla="*/ 3077861 h 3077861"/>
                <a:gd name="connsiteX2" fmla="*/ 1209457 w 1209457"/>
                <a:gd name="connsiteY2" fmla="*/ 550022 h 3077861"/>
                <a:gd name="connsiteX3" fmla="*/ 0 w 1209457"/>
                <a:gd name="connsiteY3" fmla="*/ 0 h 3077861"/>
                <a:gd name="connsiteX0" fmla="*/ 0 w 1209457"/>
                <a:gd name="connsiteY0" fmla="*/ 0 h 3091509"/>
                <a:gd name="connsiteX1" fmla="*/ 501247 w 1209457"/>
                <a:gd name="connsiteY1" fmla="*/ 3091509 h 3091509"/>
                <a:gd name="connsiteX2" fmla="*/ 1209457 w 1209457"/>
                <a:gd name="connsiteY2" fmla="*/ 550022 h 3091509"/>
                <a:gd name="connsiteX3" fmla="*/ 0 w 1209457"/>
                <a:gd name="connsiteY3" fmla="*/ 0 h 3091509"/>
              </a:gdLst>
              <a:ahLst/>
              <a:cxnLst>
                <a:cxn ang="0">
                  <a:pos x="connsiteX0" y="connsiteY0"/>
                </a:cxn>
                <a:cxn ang="0">
                  <a:pos x="connsiteX1" y="connsiteY1"/>
                </a:cxn>
                <a:cxn ang="0">
                  <a:pos x="connsiteX2" y="connsiteY2"/>
                </a:cxn>
                <a:cxn ang="0">
                  <a:pos x="connsiteX3" y="connsiteY3"/>
                </a:cxn>
              </a:cxnLst>
              <a:rect l="l" t="t" r="r" b="b"/>
              <a:pathLst>
                <a:path w="1209457" h="3091509">
                  <a:moveTo>
                    <a:pt x="0" y="0"/>
                  </a:moveTo>
                  <a:lnTo>
                    <a:pt x="501247" y="3091509"/>
                  </a:lnTo>
                  <a:lnTo>
                    <a:pt x="1209457" y="550022"/>
                  </a:lnTo>
                  <a:lnTo>
                    <a:pt x="0" y="0"/>
                  </a:lnTo>
                  <a:close/>
                </a:path>
              </a:pathLst>
            </a:custGeom>
            <a:gradFill>
              <a:gsLst>
                <a:gs pos="100000">
                  <a:schemeClr val="accent3"/>
                </a:gs>
                <a:gs pos="44000">
                  <a:schemeClr val="accent2"/>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7" name="Freeform 26"/>
            <p:cNvSpPr/>
            <p:nvPr/>
          </p:nvSpPr>
          <p:spPr>
            <a:xfrm>
              <a:off x="11488254" y="4321334"/>
              <a:ext cx="708319" cy="2552078"/>
            </a:xfrm>
            <a:custGeom>
              <a:avLst/>
              <a:gdLst>
                <a:gd name="connsiteX0" fmla="*/ 691978 w 697728"/>
                <a:gd name="connsiteY0" fmla="*/ 0 h 2520778"/>
                <a:gd name="connsiteX1" fmla="*/ 0 w 697728"/>
                <a:gd name="connsiteY1" fmla="*/ 2520778 h 2520778"/>
                <a:gd name="connsiteX2" fmla="*/ 695509 w 697728"/>
                <a:gd name="connsiteY2" fmla="*/ 2517248 h 2520778"/>
                <a:gd name="connsiteX3" fmla="*/ 691978 w 697728"/>
                <a:gd name="connsiteY3" fmla="*/ 0 h 2520778"/>
                <a:gd name="connsiteX0" fmla="*/ 691978 w 697728"/>
                <a:gd name="connsiteY0" fmla="*/ 0 h 2531370"/>
                <a:gd name="connsiteX1" fmla="*/ 0 w 697728"/>
                <a:gd name="connsiteY1" fmla="*/ 2531370 h 2531370"/>
                <a:gd name="connsiteX2" fmla="*/ 695509 w 697728"/>
                <a:gd name="connsiteY2" fmla="*/ 2517248 h 2531370"/>
                <a:gd name="connsiteX3" fmla="*/ 691978 w 697728"/>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1978 w 703175"/>
                <a:gd name="connsiteY0" fmla="*/ 0 h 2531370"/>
                <a:gd name="connsiteX1" fmla="*/ 0 w 703175"/>
                <a:gd name="connsiteY1" fmla="*/ 2531370 h 2531370"/>
                <a:gd name="connsiteX2" fmla="*/ 702570 w 703175"/>
                <a:gd name="connsiteY2" fmla="*/ 2527839 h 2531370"/>
                <a:gd name="connsiteX3" fmla="*/ 691978 w 703175"/>
                <a:gd name="connsiteY3" fmla="*/ 0 h 2531370"/>
                <a:gd name="connsiteX0" fmla="*/ 699039 w 704789"/>
                <a:gd name="connsiteY0" fmla="*/ 0 h 2541962"/>
                <a:gd name="connsiteX1" fmla="*/ 0 w 704789"/>
                <a:gd name="connsiteY1" fmla="*/ 2541962 h 2541962"/>
                <a:gd name="connsiteX2" fmla="*/ 702570 w 704789"/>
                <a:gd name="connsiteY2" fmla="*/ 2538431 h 2541962"/>
                <a:gd name="connsiteX3" fmla="*/ 699039 w 704789"/>
                <a:gd name="connsiteY3" fmla="*/ 0 h 2541962"/>
                <a:gd name="connsiteX0" fmla="*/ 702569 w 708319"/>
                <a:gd name="connsiteY0" fmla="*/ 0 h 2538431"/>
                <a:gd name="connsiteX1" fmla="*/ 0 w 708319"/>
                <a:gd name="connsiteY1" fmla="*/ 2538431 h 2538431"/>
                <a:gd name="connsiteX2" fmla="*/ 706100 w 708319"/>
                <a:gd name="connsiteY2" fmla="*/ 2538431 h 2538431"/>
                <a:gd name="connsiteX3" fmla="*/ 702569 w 708319"/>
                <a:gd name="connsiteY3" fmla="*/ 0 h 2538431"/>
                <a:gd name="connsiteX0" fmla="*/ 667264 w 673014"/>
                <a:gd name="connsiteY0" fmla="*/ 0 h 2538431"/>
                <a:gd name="connsiteX1" fmla="*/ 0 w 673014"/>
                <a:gd name="connsiteY1" fmla="*/ 2252460 h 2538431"/>
                <a:gd name="connsiteX2" fmla="*/ 670795 w 673014"/>
                <a:gd name="connsiteY2" fmla="*/ 2538431 h 2538431"/>
                <a:gd name="connsiteX3" fmla="*/ 667264 w 673014"/>
                <a:gd name="connsiteY3" fmla="*/ 0 h 2538431"/>
                <a:gd name="connsiteX0" fmla="*/ 702569 w 708319"/>
                <a:gd name="connsiteY0" fmla="*/ 0 h 2541961"/>
                <a:gd name="connsiteX1" fmla="*/ 0 w 708319"/>
                <a:gd name="connsiteY1" fmla="*/ 2541961 h 2541961"/>
                <a:gd name="connsiteX2" fmla="*/ 706100 w 708319"/>
                <a:gd name="connsiteY2" fmla="*/ 2538431 h 2541961"/>
                <a:gd name="connsiteX3" fmla="*/ 702569 w 708319"/>
                <a:gd name="connsiteY3" fmla="*/ 0 h 2541961"/>
                <a:gd name="connsiteX0" fmla="*/ 702569 w 708319"/>
                <a:gd name="connsiteY0" fmla="*/ 0 h 2538431"/>
                <a:gd name="connsiteX1" fmla="*/ 0 w 708319"/>
                <a:gd name="connsiteY1" fmla="*/ 2534900 h 2538431"/>
                <a:gd name="connsiteX2" fmla="*/ 706100 w 708319"/>
                <a:gd name="connsiteY2" fmla="*/ 2538431 h 2538431"/>
                <a:gd name="connsiteX3" fmla="*/ 702569 w 708319"/>
                <a:gd name="connsiteY3" fmla="*/ 0 h 2538431"/>
                <a:gd name="connsiteX0" fmla="*/ 702569 w 708319"/>
                <a:gd name="connsiteY0" fmla="*/ 0 h 2548548"/>
                <a:gd name="connsiteX1" fmla="*/ 0 w 708319"/>
                <a:gd name="connsiteY1" fmla="*/ 2548548 h 2548548"/>
                <a:gd name="connsiteX2" fmla="*/ 706100 w 708319"/>
                <a:gd name="connsiteY2" fmla="*/ 2538431 h 2548548"/>
                <a:gd name="connsiteX3" fmla="*/ 702569 w 708319"/>
                <a:gd name="connsiteY3" fmla="*/ 0 h 2548548"/>
                <a:gd name="connsiteX0" fmla="*/ 702569 w 704906"/>
                <a:gd name="connsiteY0" fmla="*/ 0 h 2548548"/>
                <a:gd name="connsiteX1" fmla="*/ 0 w 704906"/>
                <a:gd name="connsiteY1" fmla="*/ 2548548 h 2548548"/>
                <a:gd name="connsiteX2" fmla="*/ 692452 w 704906"/>
                <a:gd name="connsiteY2" fmla="*/ 2538431 h 2548548"/>
                <a:gd name="connsiteX3" fmla="*/ 702569 w 704906"/>
                <a:gd name="connsiteY3" fmla="*/ 0 h 2548548"/>
                <a:gd name="connsiteX0" fmla="*/ 702569 w 708319"/>
                <a:gd name="connsiteY0" fmla="*/ 0 h 2565726"/>
                <a:gd name="connsiteX1" fmla="*/ 0 w 708319"/>
                <a:gd name="connsiteY1" fmla="*/ 2548548 h 2565726"/>
                <a:gd name="connsiteX2" fmla="*/ 706100 w 708319"/>
                <a:gd name="connsiteY2" fmla="*/ 2565726 h 2565726"/>
                <a:gd name="connsiteX3" fmla="*/ 702569 w 708319"/>
                <a:gd name="connsiteY3" fmla="*/ 0 h 2565726"/>
                <a:gd name="connsiteX0" fmla="*/ 702569 w 708319"/>
                <a:gd name="connsiteY0" fmla="*/ 0 h 2552078"/>
                <a:gd name="connsiteX1" fmla="*/ 0 w 708319"/>
                <a:gd name="connsiteY1" fmla="*/ 2548548 h 2552078"/>
                <a:gd name="connsiteX2" fmla="*/ 706100 w 708319"/>
                <a:gd name="connsiteY2" fmla="*/ 2552078 h 2552078"/>
                <a:gd name="connsiteX3" fmla="*/ 702569 w 708319"/>
                <a:gd name="connsiteY3" fmla="*/ 0 h 2552078"/>
              </a:gdLst>
              <a:ahLst/>
              <a:cxnLst>
                <a:cxn ang="0">
                  <a:pos x="connsiteX0" y="connsiteY0"/>
                </a:cxn>
                <a:cxn ang="0">
                  <a:pos x="connsiteX1" y="connsiteY1"/>
                </a:cxn>
                <a:cxn ang="0">
                  <a:pos x="connsiteX2" y="connsiteY2"/>
                </a:cxn>
                <a:cxn ang="0">
                  <a:pos x="connsiteX3" y="connsiteY3"/>
                </a:cxn>
              </a:cxnLst>
              <a:rect l="l" t="t" r="r" b="b"/>
              <a:pathLst>
                <a:path w="708319" h="2552078">
                  <a:moveTo>
                    <a:pt x="702569" y="0"/>
                  </a:moveTo>
                  <a:lnTo>
                    <a:pt x="0" y="2548548"/>
                  </a:lnTo>
                  <a:lnTo>
                    <a:pt x="706100" y="2552078"/>
                  </a:lnTo>
                  <a:cubicBezTo>
                    <a:pt x="708454" y="1710642"/>
                    <a:pt x="710807" y="834375"/>
                    <a:pt x="702569" y="0"/>
                  </a:cubicBezTo>
                  <a:close/>
                </a:path>
              </a:pathLst>
            </a:custGeom>
            <a:gradFill>
              <a:gsLst>
                <a:gs pos="100000">
                  <a:schemeClr val="accent3"/>
                </a:gs>
                <a:gs pos="44000">
                  <a:schemeClr val="accent2"/>
                </a:gs>
              </a:gsLst>
              <a:lin ang="19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8" name="Freeform 27"/>
            <p:cNvSpPr/>
            <p:nvPr/>
          </p:nvSpPr>
          <p:spPr>
            <a:xfrm>
              <a:off x="8745794" y="2426110"/>
              <a:ext cx="2263877" cy="4424516"/>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Lst>
              <a:ahLst/>
              <a:cxnLst>
                <a:cxn ang="0">
                  <a:pos x="connsiteX0" y="connsiteY0"/>
                </a:cxn>
                <a:cxn ang="0">
                  <a:pos x="connsiteX1" y="connsiteY1"/>
                </a:cxn>
                <a:cxn ang="0">
                  <a:pos x="connsiteX2" y="connsiteY2"/>
                </a:cxn>
                <a:cxn ang="0">
                  <a:pos x="connsiteX3" y="connsiteY3"/>
                </a:cxn>
              </a:cxnLst>
              <a:rect l="l" t="t" r="r" b="b"/>
              <a:pathLst>
                <a:path w="2263877" h="4424516">
                  <a:moveTo>
                    <a:pt x="958645" y="0"/>
                  </a:moveTo>
                  <a:lnTo>
                    <a:pt x="2263877" y="1393722"/>
                  </a:lnTo>
                  <a:lnTo>
                    <a:pt x="0" y="4424516"/>
                  </a:lnTo>
                  <a:lnTo>
                    <a:pt x="958645"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9" name="Freeform 28"/>
            <p:cNvSpPr/>
            <p:nvPr/>
          </p:nvSpPr>
          <p:spPr>
            <a:xfrm>
              <a:off x="-1" y="-1"/>
              <a:ext cx="3153403" cy="1773715"/>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Lst>
              <a:ahLst/>
              <a:cxnLst>
                <a:cxn ang="0">
                  <a:pos x="connsiteX0" y="connsiteY0"/>
                </a:cxn>
                <a:cxn ang="0">
                  <a:pos x="connsiteX1" y="connsiteY1"/>
                </a:cxn>
                <a:cxn ang="0">
                  <a:pos x="connsiteX2" y="connsiteY2"/>
                </a:cxn>
                <a:cxn ang="0">
                  <a:pos x="connsiteX3" y="connsiteY3"/>
                </a:cxn>
              </a:cxnLst>
              <a:rect l="l" t="t" r="r" b="b"/>
              <a:pathLst>
                <a:path w="3153403" h="1773715">
                  <a:moveTo>
                    <a:pt x="0" y="0"/>
                  </a:moveTo>
                  <a:lnTo>
                    <a:pt x="1036790" y="1773715"/>
                  </a:lnTo>
                  <a:lnTo>
                    <a:pt x="3153403" y="1771137"/>
                  </a:lnTo>
                  <a:lnTo>
                    <a:pt x="0"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0" name="Freeform 29"/>
            <p:cNvSpPr/>
            <p:nvPr/>
          </p:nvSpPr>
          <p:spPr>
            <a:xfrm>
              <a:off x="-9845" y="-7221"/>
              <a:ext cx="3120462" cy="1793286"/>
            </a:xfrm>
            <a:custGeom>
              <a:avLst/>
              <a:gdLst>
                <a:gd name="connsiteX0" fmla="*/ 0 w 3172858"/>
                <a:gd name="connsiteY0" fmla="*/ 0 h 1773716"/>
                <a:gd name="connsiteX1" fmla="*/ 1079653 w 3172858"/>
                <a:gd name="connsiteY1" fmla="*/ 1773716 h 1773716"/>
                <a:gd name="connsiteX2" fmla="*/ 3172858 w 3172858"/>
                <a:gd name="connsiteY2" fmla="*/ 1751682 h 1773716"/>
                <a:gd name="connsiteX3" fmla="*/ 0 w 3172858"/>
                <a:gd name="connsiteY3" fmla="*/ 0 h 1773716"/>
                <a:gd name="connsiteX0" fmla="*/ 0 w 3114492"/>
                <a:gd name="connsiteY0" fmla="*/ 0 h 1773716"/>
                <a:gd name="connsiteX1" fmla="*/ 1079653 w 3114492"/>
                <a:gd name="connsiteY1" fmla="*/ 1773716 h 1773716"/>
                <a:gd name="connsiteX2" fmla="*/ 3114492 w 3114492"/>
                <a:gd name="connsiteY2" fmla="*/ 1177750 h 1773716"/>
                <a:gd name="connsiteX3" fmla="*/ 0 w 3114492"/>
                <a:gd name="connsiteY3" fmla="*/ 0 h 1773716"/>
                <a:gd name="connsiteX0" fmla="*/ 0 w 3153403"/>
                <a:gd name="connsiteY0" fmla="*/ 0 h 1773716"/>
                <a:gd name="connsiteX1" fmla="*/ 1079653 w 3153403"/>
                <a:gd name="connsiteY1" fmla="*/ 1773716 h 1773716"/>
                <a:gd name="connsiteX2" fmla="*/ 3153403 w 3153403"/>
                <a:gd name="connsiteY2" fmla="*/ 1771137 h 1773716"/>
                <a:gd name="connsiteX3" fmla="*/ 0 w 3153403"/>
                <a:gd name="connsiteY3" fmla="*/ 0 h 1773716"/>
                <a:gd name="connsiteX0" fmla="*/ 0 w 3153403"/>
                <a:gd name="connsiteY0" fmla="*/ 0 h 1771137"/>
                <a:gd name="connsiteX1" fmla="*/ 1036790 w 3153403"/>
                <a:gd name="connsiteY1" fmla="*/ 1768953 h 1771137"/>
                <a:gd name="connsiteX2" fmla="*/ 3153403 w 3153403"/>
                <a:gd name="connsiteY2" fmla="*/ 1771137 h 1771137"/>
                <a:gd name="connsiteX3" fmla="*/ 0 w 3153403"/>
                <a:gd name="connsiteY3" fmla="*/ 0 h 1771137"/>
                <a:gd name="connsiteX0" fmla="*/ 0 w 3153403"/>
                <a:gd name="connsiteY0" fmla="*/ 0 h 1773715"/>
                <a:gd name="connsiteX1" fmla="*/ 1036790 w 3153403"/>
                <a:gd name="connsiteY1" fmla="*/ 1773715 h 1773715"/>
                <a:gd name="connsiteX2" fmla="*/ 3153403 w 3153403"/>
                <a:gd name="connsiteY2" fmla="*/ 1771137 h 1773715"/>
                <a:gd name="connsiteX3" fmla="*/ 0 w 3153403"/>
                <a:gd name="connsiteY3" fmla="*/ 0 h 1773715"/>
                <a:gd name="connsiteX0" fmla="*/ 0 w 3081965"/>
                <a:gd name="connsiteY0" fmla="*/ 0 h 1775900"/>
                <a:gd name="connsiteX1" fmla="*/ 1036790 w 3081965"/>
                <a:gd name="connsiteY1" fmla="*/ 1773715 h 1775900"/>
                <a:gd name="connsiteX2" fmla="*/ 3081965 w 3081965"/>
                <a:gd name="connsiteY2" fmla="*/ 1775900 h 1775900"/>
                <a:gd name="connsiteX3" fmla="*/ 0 w 3081965"/>
                <a:gd name="connsiteY3" fmla="*/ 0 h 1775900"/>
                <a:gd name="connsiteX0" fmla="*/ 0 w 3086728"/>
                <a:gd name="connsiteY0" fmla="*/ 0 h 1775900"/>
                <a:gd name="connsiteX1" fmla="*/ 1036790 w 3086728"/>
                <a:gd name="connsiteY1" fmla="*/ 1773715 h 1775900"/>
                <a:gd name="connsiteX2" fmla="*/ 3086728 w 3086728"/>
                <a:gd name="connsiteY2" fmla="*/ 1775900 h 1775900"/>
                <a:gd name="connsiteX3" fmla="*/ 0 w 3086728"/>
                <a:gd name="connsiteY3" fmla="*/ 0 h 1775900"/>
                <a:gd name="connsiteX0" fmla="*/ 0 w 3091491"/>
                <a:gd name="connsiteY0" fmla="*/ 0 h 1799713"/>
                <a:gd name="connsiteX1" fmla="*/ 1036790 w 3091491"/>
                <a:gd name="connsiteY1" fmla="*/ 1773715 h 1799713"/>
                <a:gd name="connsiteX2" fmla="*/ 3091491 w 3091491"/>
                <a:gd name="connsiteY2" fmla="*/ 1799713 h 1799713"/>
                <a:gd name="connsiteX3" fmla="*/ 0 w 3091491"/>
                <a:gd name="connsiteY3" fmla="*/ 0 h 1799713"/>
                <a:gd name="connsiteX0" fmla="*/ 0 w 3120066"/>
                <a:gd name="connsiteY0" fmla="*/ 0 h 1799713"/>
                <a:gd name="connsiteX1" fmla="*/ 1036790 w 3120066"/>
                <a:gd name="connsiteY1" fmla="*/ 1773715 h 1799713"/>
                <a:gd name="connsiteX2" fmla="*/ 3120066 w 3120066"/>
                <a:gd name="connsiteY2" fmla="*/ 1799713 h 1799713"/>
                <a:gd name="connsiteX3" fmla="*/ 0 w 3120066"/>
                <a:gd name="connsiteY3" fmla="*/ 0 h 1799713"/>
                <a:gd name="connsiteX0" fmla="*/ 0 w 3120066"/>
                <a:gd name="connsiteY0" fmla="*/ 0 h 1799713"/>
                <a:gd name="connsiteX1" fmla="*/ 1019730 w 3120066"/>
                <a:gd name="connsiteY1" fmla="*/ 1773715 h 1799713"/>
                <a:gd name="connsiteX2" fmla="*/ 3120066 w 3120066"/>
                <a:gd name="connsiteY2" fmla="*/ 1799713 h 1799713"/>
                <a:gd name="connsiteX3" fmla="*/ 0 w 3120066"/>
                <a:gd name="connsiteY3" fmla="*/ 0 h 1799713"/>
                <a:gd name="connsiteX0" fmla="*/ 0 w 3133714"/>
                <a:gd name="connsiteY0" fmla="*/ 0 h 1799713"/>
                <a:gd name="connsiteX1" fmla="*/ 1033378 w 3133714"/>
                <a:gd name="connsiteY1" fmla="*/ 1773715 h 1799713"/>
                <a:gd name="connsiteX2" fmla="*/ 3133714 w 3133714"/>
                <a:gd name="connsiteY2" fmla="*/ 1799713 h 1799713"/>
                <a:gd name="connsiteX3" fmla="*/ 0 w 3133714"/>
                <a:gd name="connsiteY3" fmla="*/ 0 h 1799713"/>
                <a:gd name="connsiteX0" fmla="*/ 0 w 3140538"/>
                <a:gd name="connsiteY0" fmla="*/ 0 h 1799713"/>
                <a:gd name="connsiteX1" fmla="*/ 1040202 w 3140538"/>
                <a:gd name="connsiteY1" fmla="*/ 1773715 h 1799713"/>
                <a:gd name="connsiteX2" fmla="*/ 3140538 w 3140538"/>
                <a:gd name="connsiteY2" fmla="*/ 1799713 h 1799713"/>
                <a:gd name="connsiteX3" fmla="*/ 0 w 3140538"/>
                <a:gd name="connsiteY3" fmla="*/ 0 h 1799713"/>
                <a:gd name="connsiteX0" fmla="*/ 0 w 3126890"/>
                <a:gd name="connsiteY0" fmla="*/ 0 h 1786065"/>
                <a:gd name="connsiteX1" fmla="*/ 1040202 w 3126890"/>
                <a:gd name="connsiteY1" fmla="*/ 1773715 h 1786065"/>
                <a:gd name="connsiteX2" fmla="*/ 3126890 w 3126890"/>
                <a:gd name="connsiteY2" fmla="*/ 1786065 h 1786065"/>
                <a:gd name="connsiteX3" fmla="*/ 0 w 3126890"/>
                <a:gd name="connsiteY3" fmla="*/ 0 h 1786065"/>
                <a:gd name="connsiteX0" fmla="*/ 0 w 3113242"/>
                <a:gd name="connsiteY0" fmla="*/ 0 h 1782653"/>
                <a:gd name="connsiteX1" fmla="*/ 1026554 w 3113242"/>
                <a:gd name="connsiteY1" fmla="*/ 1770303 h 1782653"/>
                <a:gd name="connsiteX2" fmla="*/ 3113242 w 3113242"/>
                <a:gd name="connsiteY2" fmla="*/ 1782653 h 1782653"/>
                <a:gd name="connsiteX3" fmla="*/ 0 w 3113242"/>
                <a:gd name="connsiteY3" fmla="*/ 0 h 1782653"/>
                <a:gd name="connsiteX0" fmla="*/ 0 w 3123478"/>
                <a:gd name="connsiteY0" fmla="*/ 0 h 1782653"/>
                <a:gd name="connsiteX1" fmla="*/ 1036790 w 3123478"/>
                <a:gd name="connsiteY1" fmla="*/ 1770303 h 1782653"/>
                <a:gd name="connsiteX2" fmla="*/ 3123478 w 3123478"/>
                <a:gd name="connsiteY2" fmla="*/ 1782653 h 1782653"/>
                <a:gd name="connsiteX3" fmla="*/ 0 w 3123478"/>
                <a:gd name="connsiteY3" fmla="*/ 0 h 1782653"/>
                <a:gd name="connsiteX0" fmla="*/ 0 w 3109830"/>
                <a:gd name="connsiteY0" fmla="*/ 0 h 1782653"/>
                <a:gd name="connsiteX1" fmla="*/ 1036790 w 3109830"/>
                <a:gd name="connsiteY1" fmla="*/ 1770303 h 1782653"/>
                <a:gd name="connsiteX2" fmla="*/ 3109830 w 3109830"/>
                <a:gd name="connsiteY2" fmla="*/ 1782653 h 1782653"/>
                <a:gd name="connsiteX3" fmla="*/ 0 w 3109830"/>
                <a:gd name="connsiteY3" fmla="*/ 0 h 1782653"/>
                <a:gd name="connsiteX0" fmla="*/ 0 w 3120462"/>
                <a:gd name="connsiteY0" fmla="*/ 0 h 1793286"/>
                <a:gd name="connsiteX1" fmla="*/ 1047422 w 3120462"/>
                <a:gd name="connsiteY1" fmla="*/ 1780936 h 1793286"/>
                <a:gd name="connsiteX2" fmla="*/ 3120462 w 3120462"/>
                <a:gd name="connsiteY2" fmla="*/ 1793286 h 1793286"/>
                <a:gd name="connsiteX3" fmla="*/ 0 w 3120462"/>
                <a:gd name="connsiteY3" fmla="*/ 0 h 1793286"/>
              </a:gdLst>
              <a:ahLst/>
              <a:cxnLst>
                <a:cxn ang="0">
                  <a:pos x="connsiteX0" y="connsiteY0"/>
                </a:cxn>
                <a:cxn ang="0">
                  <a:pos x="connsiteX1" y="connsiteY1"/>
                </a:cxn>
                <a:cxn ang="0">
                  <a:pos x="connsiteX2" y="connsiteY2"/>
                </a:cxn>
                <a:cxn ang="0">
                  <a:pos x="connsiteX3" y="connsiteY3"/>
                </a:cxn>
              </a:cxnLst>
              <a:rect l="l" t="t" r="r" b="b"/>
              <a:pathLst>
                <a:path w="3120462" h="1793286">
                  <a:moveTo>
                    <a:pt x="0" y="0"/>
                  </a:moveTo>
                  <a:lnTo>
                    <a:pt x="1047422" y="1780936"/>
                  </a:lnTo>
                  <a:lnTo>
                    <a:pt x="3120462" y="1793286"/>
                  </a:lnTo>
                  <a:lnTo>
                    <a:pt x="0" y="0"/>
                  </a:lnTo>
                  <a:close/>
                </a:path>
              </a:pathLst>
            </a:custGeom>
            <a:gradFill>
              <a:gsLst>
                <a:gs pos="62000">
                  <a:schemeClr val="accent3"/>
                </a:gs>
                <a:gs pos="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1" name="Freeform 30"/>
            <p:cNvSpPr/>
            <p:nvPr/>
          </p:nvSpPr>
          <p:spPr>
            <a:xfrm>
              <a:off x="-3295" y="1769807"/>
              <a:ext cx="1407341" cy="5098422"/>
            </a:xfrm>
            <a:custGeom>
              <a:avLst/>
              <a:gdLst>
                <a:gd name="connsiteX0" fmla="*/ 1026488 w 1398147"/>
                <a:gd name="connsiteY0" fmla="*/ 0 h 5073445"/>
                <a:gd name="connsiteX1" fmla="*/ 1398147 w 1398147"/>
                <a:gd name="connsiteY1" fmla="*/ 1875995 h 5073445"/>
                <a:gd name="connsiteX2" fmla="*/ 0 w 1398147"/>
                <a:gd name="connsiteY2" fmla="*/ 5073445 h 5073445"/>
                <a:gd name="connsiteX3" fmla="*/ 1026488 w 1398147"/>
                <a:gd name="connsiteY3" fmla="*/ 0 h 5073445"/>
                <a:gd name="connsiteX0" fmla="*/ 1032388 w 1398147"/>
                <a:gd name="connsiteY0" fmla="*/ 0 h 5055747"/>
                <a:gd name="connsiteX1" fmla="*/ 1398147 w 1398147"/>
                <a:gd name="connsiteY1" fmla="*/ 1858297 h 5055747"/>
                <a:gd name="connsiteX2" fmla="*/ 0 w 1398147"/>
                <a:gd name="connsiteY2" fmla="*/ 5055747 h 5055747"/>
                <a:gd name="connsiteX3" fmla="*/ 1032388 w 1398147"/>
                <a:gd name="connsiteY3" fmla="*/ 0 h 5055747"/>
                <a:gd name="connsiteX0" fmla="*/ 1032388 w 1398147"/>
                <a:gd name="connsiteY0" fmla="*/ 0 h 5061646"/>
                <a:gd name="connsiteX1" fmla="*/ 1398147 w 1398147"/>
                <a:gd name="connsiteY1" fmla="*/ 1864196 h 5061646"/>
                <a:gd name="connsiteX2" fmla="*/ 0 w 1398147"/>
                <a:gd name="connsiteY2" fmla="*/ 5061646 h 5061646"/>
                <a:gd name="connsiteX3" fmla="*/ 1032388 w 1398147"/>
                <a:gd name="connsiteY3" fmla="*/ 0 h 5061646"/>
                <a:gd name="connsiteX0" fmla="*/ 1032388 w 1398147"/>
                <a:gd name="connsiteY0" fmla="*/ 0 h 5079344"/>
                <a:gd name="connsiteX1" fmla="*/ 1398147 w 1398147"/>
                <a:gd name="connsiteY1" fmla="*/ 1881894 h 5079344"/>
                <a:gd name="connsiteX2" fmla="*/ 0 w 1398147"/>
                <a:gd name="connsiteY2" fmla="*/ 5079344 h 5079344"/>
                <a:gd name="connsiteX3" fmla="*/ 1032388 w 1398147"/>
                <a:gd name="connsiteY3" fmla="*/ 0 h 5079344"/>
                <a:gd name="connsiteX0" fmla="*/ 1032388 w 1398147"/>
                <a:gd name="connsiteY0" fmla="*/ 0 h 5089936"/>
                <a:gd name="connsiteX1" fmla="*/ 1398147 w 1398147"/>
                <a:gd name="connsiteY1" fmla="*/ 1881894 h 5089936"/>
                <a:gd name="connsiteX2" fmla="*/ 0 w 1398147"/>
                <a:gd name="connsiteY2" fmla="*/ 5089936 h 5089936"/>
                <a:gd name="connsiteX3" fmla="*/ 1032388 w 1398147"/>
                <a:gd name="connsiteY3" fmla="*/ 0 h 5089936"/>
                <a:gd name="connsiteX0" fmla="*/ 1039450 w 1405209"/>
                <a:gd name="connsiteY0" fmla="*/ 0 h 5089936"/>
                <a:gd name="connsiteX1" fmla="*/ 1405209 w 1405209"/>
                <a:gd name="connsiteY1" fmla="*/ 1881894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1039450 w 1405209"/>
                <a:gd name="connsiteY3" fmla="*/ 0 h 5089936"/>
                <a:gd name="connsiteX0" fmla="*/ 1039450 w 1405209"/>
                <a:gd name="connsiteY0" fmla="*/ 0 h 5089936"/>
                <a:gd name="connsiteX1" fmla="*/ 1405209 w 1405209"/>
                <a:gd name="connsiteY1" fmla="*/ 1891419 h 5089936"/>
                <a:gd name="connsiteX2" fmla="*/ 0 w 1405209"/>
                <a:gd name="connsiteY2" fmla="*/ 5089936 h 5089936"/>
                <a:gd name="connsiteX3" fmla="*/ 8890 w 1405209"/>
                <a:gd name="connsiteY3" fmla="*/ 5081754 h 5089936"/>
                <a:gd name="connsiteX4" fmla="*/ 1039450 w 1405209"/>
                <a:gd name="connsiteY4" fmla="*/ 0 h 5089936"/>
                <a:gd name="connsiteX0" fmla="*/ 1041582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41582 w 1407341"/>
                <a:gd name="connsiteY4" fmla="*/ 0 h 5098422"/>
                <a:gd name="connsiteX0" fmla="*/ 1034758 w 1407341"/>
                <a:gd name="connsiteY0" fmla="*/ 0 h 5098422"/>
                <a:gd name="connsiteX1" fmla="*/ 1407341 w 1407341"/>
                <a:gd name="connsiteY1" fmla="*/ 1891419 h 5098422"/>
                <a:gd name="connsiteX2" fmla="*/ 2132 w 1407341"/>
                <a:gd name="connsiteY2" fmla="*/ 5089936 h 5098422"/>
                <a:gd name="connsiteX3" fmla="*/ 719 w 1407341"/>
                <a:gd name="connsiteY3" fmla="*/ 5097208 h 5098422"/>
                <a:gd name="connsiteX4" fmla="*/ 1034758 w 1407341"/>
                <a:gd name="connsiteY4" fmla="*/ 0 h 50984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7341" h="5098422">
                  <a:moveTo>
                    <a:pt x="1034758" y="0"/>
                  </a:moveTo>
                  <a:lnTo>
                    <a:pt x="1407341" y="1891419"/>
                  </a:lnTo>
                  <a:lnTo>
                    <a:pt x="2132" y="5089936"/>
                  </a:lnTo>
                  <a:cubicBezTo>
                    <a:pt x="5095" y="5083774"/>
                    <a:pt x="-2244" y="5103370"/>
                    <a:pt x="719" y="5097208"/>
                  </a:cubicBezTo>
                  <a:lnTo>
                    <a:pt x="1034758" y="0"/>
                  </a:lnTo>
                  <a:close/>
                </a:path>
              </a:pathLst>
            </a:custGeom>
            <a:gradFill>
              <a:gsLst>
                <a:gs pos="100000">
                  <a:schemeClr val="accent3"/>
                </a:gs>
                <a:gs pos="44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2" name="Freeform 31"/>
            <p:cNvSpPr/>
            <p:nvPr/>
          </p:nvSpPr>
          <p:spPr>
            <a:xfrm>
              <a:off x="8694845" y="2426110"/>
              <a:ext cx="2293341" cy="4440419"/>
            </a:xfrm>
            <a:custGeom>
              <a:avLst/>
              <a:gdLst>
                <a:gd name="connsiteX0" fmla="*/ 958645 w 2263877"/>
                <a:gd name="connsiteY0" fmla="*/ 0 h 4424516"/>
                <a:gd name="connsiteX1" fmla="*/ 2263877 w 2263877"/>
                <a:gd name="connsiteY1" fmla="*/ 1393722 h 4424516"/>
                <a:gd name="connsiteX2" fmla="*/ 0 w 2263877"/>
                <a:gd name="connsiteY2" fmla="*/ 4424516 h 4424516"/>
                <a:gd name="connsiteX3" fmla="*/ 958645 w 2263877"/>
                <a:gd name="connsiteY3" fmla="*/ 0 h 4424516"/>
                <a:gd name="connsiteX0" fmla="*/ 958645 w 2269487"/>
                <a:gd name="connsiteY0" fmla="*/ 0 h 4424516"/>
                <a:gd name="connsiteX1" fmla="*/ 2269487 w 2269487"/>
                <a:gd name="connsiteY1" fmla="*/ 1388112 h 4424516"/>
                <a:gd name="connsiteX2" fmla="*/ 0 w 2269487"/>
                <a:gd name="connsiteY2" fmla="*/ 4424516 h 4424516"/>
                <a:gd name="connsiteX3" fmla="*/ 958645 w 2269487"/>
                <a:gd name="connsiteY3" fmla="*/ 0 h 4424516"/>
                <a:gd name="connsiteX0" fmla="*/ 982499 w 2293341"/>
                <a:gd name="connsiteY0" fmla="*/ 0 h 4440419"/>
                <a:gd name="connsiteX1" fmla="*/ 2293341 w 2293341"/>
                <a:gd name="connsiteY1" fmla="*/ 1388112 h 4440419"/>
                <a:gd name="connsiteX2" fmla="*/ 0 w 2293341"/>
                <a:gd name="connsiteY2" fmla="*/ 4440419 h 4440419"/>
                <a:gd name="connsiteX3" fmla="*/ 982499 w 2293341"/>
                <a:gd name="connsiteY3" fmla="*/ 0 h 4440419"/>
              </a:gdLst>
              <a:ahLst/>
              <a:cxnLst>
                <a:cxn ang="0">
                  <a:pos x="connsiteX0" y="connsiteY0"/>
                </a:cxn>
                <a:cxn ang="0">
                  <a:pos x="connsiteX1" y="connsiteY1"/>
                </a:cxn>
                <a:cxn ang="0">
                  <a:pos x="connsiteX2" y="connsiteY2"/>
                </a:cxn>
                <a:cxn ang="0">
                  <a:pos x="connsiteX3" y="connsiteY3"/>
                </a:cxn>
              </a:cxnLst>
              <a:rect l="l" t="t" r="r" b="b"/>
              <a:pathLst>
                <a:path w="2293341" h="4440419">
                  <a:moveTo>
                    <a:pt x="982499" y="0"/>
                  </a:moveTo>
                  <a:lnTo>
                    <a:pt x="2293341" y="1388112"/>
                  </a:lnTo>
                  <a:lnTo>
                    <a:pt x="0" y="4440419"/>
                  </a:lnTo>
                  <a:lnTo>
                    <a:pt x="982499" y="0"/>
                  </a:lnTo>
                  <a:close/>
                </a:path>
              </a:pathLst>
            </a:custGeom>
            <a:gradFill>
              <a:gsLst>
                <a:gs pos="100000">
                  <a:schemeClr val="accent3"/>
                </a:gs>
                <a:gs pos="29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3" name="Freeform 32"/>
            <p:cNvSpPr/>
            <p:nvPr/>
          </p:nvSpPr>
          <p:spPr>
            <a:xfrm>
              <a:off x="9669015" y="1066800"/>
              <a:ext cx="2530575" cy="2762250"/>
            </a:xfrm>
            <a:custGeom>
              <a:avLst/>
              <a:gdLst>
                <a:gd name="connsiteX0" fmla="*/ 2481262 w 2481262"/>
                <a:gd name="connsiteY0" fmla="*/ 0 h 2762250"/>
                <a:gd name="connsiteX1" fmla="*/ 0 w 2481262"/>
                <a:gd name="connsiteY1" fmla="*/ 1371600 h 2762250"/>
                <a:gd name="connsiteX2" fmla="*/ 1309687 w 2481262"/>
                <a:gd name="connsiteY2" fmla="*/ 2762250 h 2762250"/>
                <a:gd name="connsiteX3" fmla="*/ 2481262 w 2481262"/>
                <a:gd name="connsiteY3" fmla="*/ 0 h 2762250"/>
                <a:gd name="connsiteX0" fmla="*/ 2481262 w 2481262"/>
                <a:gd name="connsiteY0" fmla="*/ 0 h 2762250"/>
                <a:gd name="connsiteX1" fmla="*/ 0 w 2481262"/>
                <a:gd name="connsiteY1" fmla="*/ 1371600 h 2762250"/>
                <a:gd name="connsiteX2" fmla="*/ 1292857 w 2481262"/>
                <a:gd name="connsiteY2" fmla="*/ 2762250 h 2762250"/>
                <a:gd name="connsiteX3" fmla="*/ 2481262 w 2481262"/>
                <a:gd name="connsiteY3" fmla="*/ 0 h 2762250"/>
                <a:gd name="connsiteX0" fmla="*/ 2509311 w 2509311"/>
                <a:gd name="connsiteY0" fmla="*/ 0 h 2762250"/>
                <a:gd name="connsiteX1" fmla="*/ 0 w 2509311"/>
                <a:gd name="connsiteY1" fmla="*/ 1354771 h 2762250"/>
                <a:gd name="connsiteX2" fmla="*/ 1320906 w 2509311"/>
                <a:gd name="connsiteY2" fmla="*/ 2762250 h 2762250"/>
                <a:gd name="connsiteX3" fmla="*/ 2509311 w 2509311"/>
                <a:gd name="connsiteY3" fmla="*/ 0 h 2762250"/>
                <a:gd name="connsiteX0" fmla="*/ 2519943 w 2519943"/>
                <a:gd name="connsiteY0" fmla="*/ 0 h 2762250"/>
                <a:gd name="connsiteX1" fmla="*/ 0 w 2519943"/>
                <a:gd name="connsiteY1" fmla="*/ 1354771 h 2762250"/>
                <a:gd name="connsiteX2" fmla="*/ 1320906 w 2519943"/>
                <a:gd name="connsiteY2" fmla="*/ 2762250 h 2762250"/>
                <a:gd name="connsiteX3" fmla="*/ 2519943 w 2519943"/>
                <a:gd name="connsiteY3" fmla="*/ 0 h 2762250"/>
                <a:gd name="connsiteX0" fmla="*/ 2530575 w 2530575"/>
                <a:gd name="connsiteY0" fmla="*/ 0 h 2762250"/>
                <a:gd name="connsiteX1" fmla="*/ 0 w 2530575"/>
                <a:gd name="connsiteY1" fmla="*/ 1354771 h 2762250"/>
                <a:gd name="connsiteX2" fmla="*/ 1320906 w 2530575"/>
                <a:gd name="connsiteY2" fmla="*/ 2762250 h 2762250"/>
                <a:gd name="connsiteX3" fmla="*/ 2530575 w 2530575"/>
                <a:gd name="connsiteY3" fmla="*/ 0 h 2762250"/>
              </a:gdLst>
              <a:ahLst/>
              <a:cxnLst>
                <a:cxn ang="0">
                  <a:pos x="connsiteX0" y="connsiteY0"/>
                </a:cxn>
                <a:cxn ang="0">
                  <a:pos x="connsiteX1" y="connsiteY1"/>
                </a:cxn>
                <a:cxn ang="0">
                  <a:pos x="connsiteX2" y="connsiteY2"/>
                </a:cxn>
                <a:cxn ang="0">
                  <a:pos x="connsiteX3" y="connsiteY3"/>
                </a:cxn>
              </a:cxnLst>
              <a:rect l="l" t="t" r="r" b="b"/>
              <a:pathLst>
                <a:path w="2530575" h="2762250">
                  <a:moveTo>
                    <a:pt x="2530575" y="0"/>
                  </a:moveTo>
                  <a:lnTo>
                    <a:pt x="0" y="1354771"/>
                  </a:lnTo>
                  <a:lnTo>
                    <a:pt x="1320906" y="2762250"/>
                  </a:lnTo>
                  <a:lnTo>
                    <a:pt x="2530575" y="0"/>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4" name="Freeform 33"/>
            <p:cNvSpPr/>
            <p:nvPr/>
          </p:nvSpPr>
          <p:spPr>
            <a:xfrm>
              <a:off x="3317358" y="-5316"/>
              <a:ext cx="4354033" cy="1222744"/>
            </a:xfrm>
            <a:custGeom>
              <a:avLst/>
              <a:gdLst>
                <a:gd name="connsiteX0" fmla="*/ 0 w 4354033"/>
                <a:gd name="connsiteY0" fmla="*/ 0 h 1217428"/>
                <a:gd name="connsiteX1" fmla="*/ 3067493 w 4354033"/>
                <a:gd name="connsiteY1" fmla="*/ 10632 h 1217428"/>
                <a:gd name="connsiteX2" fmla="*/ 4354033 w 4354033"/>
                <a:gd name="connsiteY2" fmla="*/ 1217428 h 1217428"/>
                <a:gd name="connsiteX3" fmla="*/ 0 w 4354033"/>
                <a:gd name="connsiteY3" fmla="*/ 0 h 1217428"/>
                <a:gd name="connsiteX0" fmla="*/ 0 w 4354033"/>
                <a:gd name="connsiteY0" fmla="*/ 0 h 1217428"/>
                <a:gd name="connsiteX1" fmla="*/ 3088758 w 4354033"/>
                <a:gd name="connsiteY1" fmla="*/ 10632 h 1217428"/>
                <a:gd name="connsiteX2" fmla="*/ 4354033 w 4354033"/>
                <a:gd name="connsiteY2" fmla="*/ 1217428 h 1217428"/>
                <a:gd name="connsiteX3" fmla="*/ 0 w 4354033"/>
                <a:gd name="connsiteY3" fmla="*/ 0 h 1217428"/>
                <a:gd name="connsiteX0" fmla="*/ 0 w 4375298"/>
                <a:gd name="connsiteY0" fmla="*/ 0 h 1217428"/>
                <a:gd name="connsiteX1" fmla="*/ 3088758 w 4375298"/>
                <a:gd name="connsiteY1" fmla="*/ 10632 h 1217428"/>
                <a:gd name="connsiteX2" fmla="*/ 4375298 w 4375298"/>
                <a:gd name="connsiteY2" fmla="*/ 1217428 h 1217428"/>
                <a:gd name="connsiteX3" fmla="*/ 0 w 4375298"/>
                <a:gd name="connsiteY3" fmla="*/ 0 h 1217428"/>
                <a:gd name="connsiteX0" fmla="*/ 0 w 4364666"/>
                <a:gd name="connsiteY0" fmla="*/ 0 h 1217428"/>
                <a:gd name="connsiteX1" fmla="*/ 3088758 w 4364666"/>
                <a:gd name="connsiteY1" fmla="*/ 10632 h 1217428"/>
                <a:gd name="connsiteX2" fmla="*/ 4364666 w 4364666"/>
                <a:gd name="connsiteY2" fmla="*/ 1217428 h 1217428"/>
                <a:gd name="connsiteX3" fmla="*/ 0 w 4364666"/>
                <a:gd name="connsiteY3" fmla="*/ 0 h 1217428"/>
                <a:gd name="connsiteX0" fmla="*/ 0 w 4354033"/>
                <a:gd name="connsiteY0" fmla="*/ 0 h 1222744"/>
                <a:gd name="connsiteX1" fmla="*/ 3088758 w 4354033"/>
                <a:gd name="connsiteY1" fmla="*/ 10632 h 1222744"/>
                <a:gd name="connsiteX2" fmla="*/ 4354033 w 4354033"/>
                <a:gd name="connsiteY2" fmla="*/ 1222744 h 1222744"/>
                <a:gd name="connsiteX3" fmla="*/ 0 w 4354033"/>
                <a:gd name="connsiteY3" fmla="*/ 0 h 1222744"/>
                <a:gd name="connsiteX0" fmla="*/ 0 w 4354033"/>
                <a:gd name="connsiteY0" fmla="*/ 5317 h 1228061"/>
                <a:gd name="connsiteX1" fmla="*/ 3083442 w 4354033"/>
                <a:gd name="connsiteY1" fmla="*/ 0 h 1228061"/>
                <a:gd name="connsiteX2" fmla="*/ 4354033 w 4354033"/>
                <a:gd name="connsiteY2" fmla="*/ 1228061 h 1228061"/>
                <a:gd name="connsiteX3" fmla="*/ 0 w 4354033"/>
                <a:gd name="connsiteY3" fmla="*/ 5317 h 1228061"/>
                <a:gd name="connsiteX0" fmla="*/ 0 w 4354033"/>
                <a:gd name="connsiteY0" fmla="*/ 0 h 1222744"/>
                <a:gd name="connsiteX1" fmla="*/ 3094074 w 4354033"/>
                <a:gd name="connsiteY1" fmla="*/ 5315 h 1222744"/>
                <a:gd name="connsiteX2" fmla="*/ 4354033 w 4354033"/>
                <a:gd name="connsiteY2" fmla="*/ 1222744 h 1222744"/>
                <a:gd name="connsiteX3" fmla="*/ 0 w 4354033"/>
                <a:gd name="connsiteY3" fmla="*/ 0 h 1222744"/>
              </a:gdLst>
              <a:ahLst/>
              <a:cxnLst>
                <a:cxn ang="0">
                  <a:pos x="connsiteX0" y="connsiteY0"/>
                </a:cxn>
                <a:cxn ang="0">
                  <a:pos x="connsiteX1" y="connsiteY1"/>
                </a:cxn>
                <a:cxn ang="0">
                  <a:pos x="connsiteX2" y="connsiteY2"/>
                </a:cxn>
                <a:cxn ang="0">
                  <a:pos x="connsiteX3" y="connsiteY3"/>
                </a:cxn>
              </a:cxnLst>
              <a:rect l="l" t="t" r="r" b="b"/>
              <a:pathLst>
                <a:path w="4354033" h="1222744">
                  <a:moveTo>
                    <a:pt x="0" y="0"/>
                  </a:moveTo>
                  <a:lnTo>
                    <a:pt x="3094074" y="5315"/>
                  </a:lnTo>
                  <a:lnTo>
                    <a:pt x="4354033" y="1222744"/>
                  </a:lnTo>
                  <a:lnTo>
                    <a:pt x="0" y="0"/>
                  </a:lnTo>
                  <a:close/>
                </a:path>
              </a:pathLst>
            </a:custGeom>
            <a:gradFill>
              <a:gsLst>
                <a:gs pos="100000">
                  <a:schemeClr val="accent3"/>
                </a:gs>
                <a:gs pos="8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35" name="Freeform 34"/>
            <p:cNvSpPr/>
            <p:nvPr/>
          </p:nvSpPr>
          <p:spPr>
            <a:xfrm>
              <a:off x="8690614" y="3782459"/>
              <a:ext cx="2818349" cy="3087424"/>
            </a:xfrm>
            <a:custGeom>
              <a:avLst/>
              <a:gdLst>
                <a:gd name="connsiteX0" fmla="*/ 2270113 w 2753791"/>
                <a:gd name="connsiteY0" fmla="*/ 0 h 3029171"/>
                <a:gd name="connsiteX1" fmla="*/ 0 w 2753791"/>
                <a:gd name="connsiteY1" fmla="*/ 3025640 h 3029171"/>
                <a:gd name="connsiteX2" fmla="*/ 2753791 w 2753791"/>
                <a:gd name="connsiteY2" fmla="*/ 3029171 h 3029171"/>
                <a:gd name="connsiteX3" fmla="*/ 2270113 w 2753791"/>
                <a:gd name="connsiteY3" fmla="*/ 0 h 3029171"/>
                <a:gd name="connsiteX0" fmla="*/ 2247810 w 2753791"/>
                <a:gd name="connsiteY0" fmla="*/ 0 h 3073776"/>
                <a:gd name="connsiteX1" fmla="*/ 0 w 2753791"/>
                <a:gd name="connsiteY1" fmla="*/ 3070245 h 3073776"/>
                <a:gd name="connsiteX2" fmla="*/ 2753791 w 2753791"/>
                <a:gd name="connsiteY2" fmla="*/ 3073776 h 3073776"/>
                <a:gd name="connsiteX3" fmla="*/ 2247810 w 2753791"/>
                <a:gd name="connsiteY3" fmla="*/ 0 h 3073776"/>
                <a:gd name="connsiteX0" fmla="*/ 2311420 w 2817401"/>
                <a:gd name="connsiteY0" fmla="*/ 0 h 3073776"/>
                <a:gd name="connsiteX1" fmla="*/ 0 w 2817401"/>
                <a:gd name="connsiteY1" fmla="*/ 3062294 h 3073776"/>
                <a:gd name="connsiteX2" fmla="*/ 2817401 w 2817401"/>
                <a:gd name="connsiteY2" fmla="*/ 3073776 h 3073776"/>
                <a:gd name="connsiteX3" fmla="*/ 2311420 w 2817401"/>
                <a:gd name="connsiteY3" fmla="*/ 0 h 3073776"/>
                <a:gd name="connsiteX0" fmla="*/ 2311420 w 2817401"/>
                <a:gd name="connsiteY0" fmla="*/ 0 h 3089589"/>
                <a:gd name="connsiteX1" fmla="*/ 0 w 2817401"/>
                <a:gd name="connsiteY1" fmla="*/ 3089589 h 3089589"/>
                <a:gd name="connsiteX2" fmla="*/ 2817401 w 2817401"/>
                <a:gd name="connsiteY2" fmla="*/ 3073776 h 3089589"/>
                <a:gd name="connsiteX3" fmla="*/ 2311420 w 2817401"/>
                <a:gd name="connsiteY3" fmla="*/ 0 h 3089589"/>
                <a:gd name="connsiteX0" fmla="*/ 2306657 w 2812638"/>
                <a:gd name="connsiteY0" fmla="*/ 0 h 3089589"/>
                <a:gd name="connsiteX1" fmla="*/ 0 w 2812638"/>
                <a:gd name="connsiteY1" fmla="*/ 3089589 h 3089589"/>
                <a:gd name="connsiteX2" fmla="*/ 2812638 w 2812638"/>
                <a:gd name="connsiteY2" fmla="*/ 3073776 h 3089589"/>
                <a:gd name="connsiteX3" fmla="*/ 2306657 w 2812638"/>
                <a:gd name="connsiteY3" fmla="*/ 0 h 3089589"/>
                <a:gd name="connsiteX0" fmla="*/ 2306657 w 2812638"/>
                <a:gd name="connsiteY0" fmla="*/ 0 h 3084826"/>
                <a:gd name="connsiteX1" fmla="*/ 0 w 2812638"/>
                <a:gd name="connsiteY1" fmla="*/ 3084826 h 3084826"/>
                <a:gd name="connsiteX2" fmla="*/ 2812638 w 2812638"/>
                <a:gd name="connsiteY2" fmla="*/ 3073776 h 3084826"/>
                <a:gd name="connsiteX3" fmla="*/ 2306657 w 2812638"/>
                <a:gd name="connsiteY3" fmla="*/ 0 h 3084826"/>
                <a:gd name="connsiteX0" fmla="*/ 2292370 w 2798351"/>
                <a:gd name="connsiteY0" fmla="*/ 0 h 3084826"/>
                <a:gd name="connsiteX1" fmla="*/ 0 w 2798351"/>
                <a:gd name="connsiteY1" fmla="*/ 3084826 h 3084826"/>
                <a:gd name="connsiteX2" fmla="*/ 2798351 w 2798351"/>
                <a:gd name="connsiteY2" fmla="*/ 3073776 h 3084826"/>
                <a:gd name="connsiteX3" fmla="*/ 2292370 w 279835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298720 w 2804701"/>
                <a:gd name="connsiteY0" fmla="*/ 0 h 3084826"/>
                <a:gd name="connsiteX1" fmla="*/ 0 w 2804701"/>
                <a:gd name="connsiteY1" fmla="*/ 3084826 h 3084826"/>
                <a:gd name="connsiteX2" fmla="*/ 2804701 w 2804701"/>
                <a:gd name="connsiteY2" fmla="*/ 3073776 h 3084826"/>
                <a:gd name="connsiteX3" fmla="*/ 2298720 w 2804701"/>
                <a:gd name="connsiteY3" fmla="*/ 0 h 3084826"/>
                <a:gd name="connsiteX0" fmla="*/ 2311420 w 2804701"/>
                <a:gd name="connsiteY0" fmla="*/ 0 h 3084826"/>
                <a:gd name="connsiteX1" fmla="*/ 0 w 2804701"/>
                <a:gd name="connsiteY1" fmla="*/ 3084826 h 3084826"/>
                <a:gd name="connsiteX2" fmla="*/ 2804701 w 2804701"/>
                <a:gd name="connsiteY2" fmla="*/ 3073776 h 3084826"/>
                <a:gd name="connsiteX3" fmla="*/ 2311420 w 2804701"/>
                <a:gd name="connsiteY3" fmla="*/ 0 h 3084826"/>
                <a:gd name="connsiteX0" fmla="*/ 2311420 w 2804701"/>
                <a:gd name="connsiteY0" fmla="*/ 0 h 3087424"/>
                <a:gd name="connsiteX1" fmla="*/ 0 w 2804701"/>
                <a:gd name="connsiteY1" fmla="*/ 3084826 h 3087424"/>
                <a:gd name="connsiteX2" fmla="*/ 2804701 w 2804701"/>
                <a:gd name="connsiteY2" fmla="*/ 3087424 h 3087424"/>
                <a:gd name="connsiteX3" fmla="*/ 2311420 w 2804701"/>
                <a:gd name="connsiteY3" fmla="*/ 0 h 3087424"/>
                <a:gd name="connsiteX0" fmla="*/ 2311420 w 2818349"/>
                <a:gd name="connsiteY0" fmla="*/ 0 h 3087424"/>
                <a:gd name="connsiteX1" fmla="*/ 0 w 2818349"/>
                <a:gd name="connsiteY1" fmla="*/ 3084826 h 3087424"/>
                <a:gd name="connsiteX2" fmla="*/ 2818349 w 2818349"/>
                <a:gd name="connsiteY2" fmla="*/ 3087424 h 3087424"/>
                <a:gd name="connsiteX3" fmla="*/ 2311420 w 2818349"/>
                <a:gd name="connsiteY3" fmla="*/ 0 h 3087424"/>
              </a:gdLst>
              <a:ahLst/>
              <a:cxnLst>
                <a:cxn ang="0">
                  <a:pos x="connsiteX0" y="connsiteY0"/>
                </a:cxn>
                <a:cxn ang="0">
                  <a:pos x="connsiteX1" y="connsiteY1"/>
                </a:cxn>
                <a:cxn ang="0">
                  <a:pos x="connsiteX2" y="connsiteY2"/>
                </a:cxn>
                <a:cxn ang="0">
                  <a:pos x="connsiteX3" y="connsiteY3"/>
                </a:cxn>
              </a:cxnLst>
              <a:rect l="l" t="t" r="r" b="b"/>
              <a:pathLst>
                <a:path w="2818349" h="3087424">
                  <a:moveTo>
                    <a:pt x="2311420" y="0"/>
                  </a:moveTo>
                  <a:lnTo>
                    <a:pt x="0" y="3084826"/>
                  </a:lnTo>
                  <a:lnTo>
                    <a:pt x="2818349" y="3087424"/>
                  </a:lnTo>
                  <a:lnTo>
                    <a:pt x="2311420" y="0"/>
                  </a:lnTo>
                  <a:close/>
                </a:path>
              </a:pathLst>
            </a:custGeom>
            <a:gradFill>
              <a:gsLst>
                <a:gs pos="100000">
                  <a:schemeClr val="accent3"/>
                </a:gs>
                <a:gs pos="32000">
                  <a:schemeClr val="accent2"/>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6" name="Freeform 35"/>
            <p:cNvSpPr/>
            <p:nvPr/>
          </p:nvSpPr>
          <p:spPr>
            <a:xfrm>
              <a:off x="7660347" y="1094096"/>
              <a:ext cx="4531653" cy="1344304"/>
            </a:xfrm>
            <a:custGeom>
              <a:avLst/>
              <a:gdLst>
                <a:gd name="connsiteX0" fmla="*/ 0 w 4533900"/>
                <a:gd name="connsiteY0" fmla="*/ 142875 h 1371600"/>
                <a:gd name="connsiteX1" fmla="*/ 4533900 w 4533900"/>
                <a:gd name="connsiteY1" fmla="*/ 0 h 1371600"/>
                <a:gd name="connsiteX2" fmla="*/ 2043113 w 4533900"/>
                <a:gd name="connsiteY2" fmla="*/ 1371600 h 1371600"/>
                <a:gd name="connsiteX3" fmla="*/ 0 w 4533900"/>
                <a:gd name="connsiteY3" fmla="*/ 142875 h 1371600"/>
                <a:gd name="connsiteX0" fmla="*/ 0 w 4533900"/>
                <a:gd name="connsiteY0" fmla="*/ 142875 h 1371600"/>
                <a:gd name="connsiteX1" fmla="*/ 4533900 w 4533900"/>
                <a:gd name="connsiteY1" fmla="*/ 0 h 1371600"/>
                <a:gd name="connsiteX2" fmla="*/ 2021848 w 4533900"/>
                <a:gd name="connsiteY2" fmla="*/ 1371600 h 1371600"/>
                <a:gd name="connsiteX3" fmla="*/ 0 w 4533900"/>
                <a:gd name="connsiteY3" fmla="*/ 142875 h 1371600"/>
                <a:gd name="connsiteX0" fmla="*/ 0 w 4544532"/>
                <a:gd name="connsiteY0" fmla="*/ 153508 h 1371600"/>
                <a:gd name="connsiteX1" fmla="*/ 4544532 w 4544532"/>
                <a:gd name="connsiteY1" fmla="*/ 0 h 1371600"/>
                <a:gd name="connsiteX2" fmla="*/ 2032480 w 4544532"/>
                <a:gd name="connsiteY2" fmla="*/ 1371600 h 1371600"/>
                <a:gd name="connsiteX3" fmla="*/ 0 w 4544532"/>
                <a:gd name="connsiteY3" fmla="*/ 153508 h 1371600"/>
                <a:gd name="connsiteX0" fmla="*/ 0 w 4544532"/>
                <a:gd name="connsiteY0" fmla="*/ 142875 h 1371600"/>
                <a:gd name="connsiteX1" fmla="*/ 4544532 w 4544532"/>
                <a:gd name="connsiteY1" fmla="*/ 0 h 1371600"/>
                <a:gd name="connsiteX2" fmla="*/ 2032480 w 4544532"/>
                <a:gd name="connsiteY2" fmla="*/ 1371600 h 1371600"/>
                <a:gd name="connsiteX3" fmla="*/ 0 w 4544532"/>
                <a:gd name="connsiteY3" fmla="*/ 142875 h 1371600"/>
                <a:gd name="connsiteX0" fmla="*/ 0 w 4536805"/>
                <a:gd name="connsiteY0" fmla="*/ 148026 h 1371600"/>
                <a:gd name="connsiteX1" fmla="*/ 4536805 w 4536805"/>
                <a:gd name="connsiteY1" fmla="*/ 0 h 1371600"/>
                <a:gd name="connsiteX2" fmla="*/ 2024753 w 4536805"/>
                <a:gd name="connsiteY2" fmla="*/ 1371600 h 1371600"/>
                <a:gd name="connsiteX3" fmla="*/ 0 w 4536805"/>
                <a:gd name="connsiteY3" fmla="*/ 148026 h 1371600"/>
                <a:gd name="connsiteX0" fmla="*/ 0 w 4531653"/>
                <a:gd name="connsiteY0" fmla="*/ 142874 h 1371600"/>
                <a:gd name="connsiteX1" fmla="*/ 4531653 w 4531653"/>
                <a:gd name="connsiteY1" fmla="*/ 0 h 1371600"/>
                <a:gd name="connsiteX2" fmla="*/ 2019601 w 4531653"/>
                <a:gd name="connsiteY2" fmla="*/ 1371600 h 1371600"/>
                <a:gd name="connsiteX3" fmla="*/ 0 w 4531653"/>
                <a:gd name="connsiteY3" fmla="*/ 142874 h 1371600"/>
                <a:gd name="connsiteX0" fmla="*/ 0 w 3944799"/>
                <a:gd name="connsiteY0" fmla="*/ 33692 h 1262418"/>
                <a:gd name="connsiteX1" fmla="*/ 3944799 w 3944799"/>
                <a:gd name="connsiteY1" fmla="*/ 0 h 1262418"/>
                <a:gd name="connsiteX2" fmla="*/ 2019601 w 3944799"/>
                <a:gd name="connsiteY2" fmla="*/ 1262418 h 1262418"/>
                <a:gd name="connsiteX3" fmla="*/ 0 w 3944799"/>
                <a:gd name="connsiteY3" fmla="*/ 33692 h 1262418"/>
                <a:gd name="connsiteX0" fmla="*/ 0 w 4531653"/>
                <a:gd name="connsiteY0" fmla="*/ 115578 h 1344304"/>
                <a:gd name="connsiteX1" fmla="*/ 4531653 w 4531653"/>
                <a:gd name="connsiteY1" fmla="*/ 0 h 1344304"/>
                <a:gd name="connsiteX2" fmla="*/ 2019601 w 4531653"/>
                <a:gd name="connsiteY2" fmla="*/ 1344304 h 1344304"/>
                <a:gd name="connsiteX3" fmla="*/ 0 w 4531653"/>
                <a:gd name="connsiteY3" fmla="*/ 115578 h 1344304"/>
              </a:gdLst>
              <a:ahLst/>
              <a:cxnLst>
                <a:cxn ang="0">
                  <a:pos x="connsiteX0" y="connsiteY0"/>
                </a:cxn>
                <a:cxn ang="0">
                  <a:pos x="connsiteX1" y="connsiteY1"/>
                </a:cxn>
                <a:cxn ang="0">
                  <a:pos x="connsiteX2" y="connsiteY2"/>
                </a:cxn>
                <a:cxn ang="0">
                  <a:pos x="connsiteX3" y="connsiteY3"/>
                </a:cxn>
              </a:cxnLst>
              <a:rect l="l" t="t" r="r" b="b"/>
              <a:pathLst>
                <a:path w="4531653" h="1344304">
                  <a:moveTo>
                    <a:pt x="0" y="115578"/>
                  </a:moveTo>
                  <a:lnTo>
                    <a:pt x="4531653" y="0"/>
                  </a:lnTo>
                  <a:lnTo>
                    <a:pt x="2019601" y="1344304"/>
                  </a:lnTo>
                  <a:lnTo>
                    <a:pt x="0" y="115578"/>
                  </a:lnTo>
                  <a:close/>
                </a:path>
              </a:pathLst>
            </a:custGeom>
            <a:gradFill>
              <a:gsLst>
                <a:gs pos="100000">
                  <a:schemeClr val="accent3"/>
                </a:gs>
                <a:gs pos="44000">
                  <a:schemeClr val="accent2"/>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7" name="Freeform 36"/>
            <p:cNvSpPr/>
            <p:nvPr/>
          </p:nvSpPr>
          <p:spPr>
            <a:xfrm>
              <a:off x="4067336" y="4700371"/>
              <a:ext cx="4645354" cy="2166557"/>
            </a:xfrm>
            <a:custGeom>
              <a:avLst/>
              <a:gdLst>
                <a:gd name="connsiteX0" fmla="*/ 0 w 4632158"/>
                <a:gd name="connsiteY0" fmla="*/ 1239253 h 2129590"/>
                <a:gd name="connsiteX1" fmla="*/ 3645569 w 4632158"/>
                <a:gd name="connsiteY1" fmla="*/ 0 h 2129590"/>
                <a:gd name="connsiteX2" fmla="*/ 4632158 w 4632158"/>
                <a:gd name="connsiteY2" fmla="*/ 2129590 h 2129590"/>
                <a:gd name="connsiteX3" fmla="*/ 0 w 4632158"/>
                <a:gd name="connsiteY3" fmla="*/ 1239253 h 2129590"/>
                <a:gd name="connsiteX0" fmla="*/ 0 w 4632158"/>
                <a:gd name="connsiteY0" fmla="*/ 1243228 h 2133565"/>
                <a:gd name="connsiteX1" fmla="*/ 3641593 w 4632158"/>
                <a:gd name="connsiteY1" fmla="*/ 0 h 2133565"/>
                <a:gd name="connsiteX2" fmla="*/ 4632158 w 4632158"/>
                <a:gd name="connsiteY2" fmla="*/ 2133565 h 2133565"/>
                <a:gd name="connsiteX3" fmla="*/ 0 w 4632158"/>
                <a:gd name="connsiteY3" fmla="*/ 1243228 h 2133565"/>
                <a:gd name="connsiteX0" fmla="*/ 0 w 4656011"/>
                <a:gd name="connsiteY0" fmla="*/ 1243228 h 2157419"/>
                <a:gd name="connsiteX1" fmla="*/ 3641593 w 4656011"/>
                <a:gd name="connsiteY1" fmla="*/ 0 h 2157419"/>
                <a:gd name="connsiteX2" fmla="*/ 4656011 w 4656011"/>
                <a:gd name="connsiteY2" fmla="*/ 2157419 h 2157419"/>
                <a:gd name="connsiteX3" fmla="*/ 0 w 4656011"/>
                <a:gd name="connsiteY3" fmla="*/ 1243228 h 2157419"/>
                <a:gd name="connsiteX0" fmla="*/ 0 w 4659987"/>
                <a:gd name="connsiteY0" fmla="*/ 1247204 h 2157419"/>
                <a:gd name="connsiteX1" fmla="*/ 3645569 w 4659987"/>
                <a:gd name="connsiteY1" fmla="*/ 0 h 2157419"/>
                <a:gd name="connsiteX2" fmla="*/ 4659987 w 4659987"/>
                <a:gd name="connsiteY2" fmla="*/ 2157419 h 2157419"/>
                <a:gd name="connsiteX3" fmla="*/ 0 w 4659987"/>
                <a:gd name="connsiteY3" fmla="*/ 1247204 h 2157419"/>
                <a:gd name="connsiteX0" fmla="*/ 0 w 4667938"/>
                <a:gd name="connsiteY0" fmla="*/ 1263107 h 2157419"/>
                <a:gd name="connsiteX1" fmla="*/ 3653520 w 4667938"/>
                <a:gd name="connsiteY1" fmla="*/ 0 h 2157419"/>
                <a:gd name="connsiteX2" fmla="*/ 4667938 w 4667938"/>
                <a:gd name="connsiteY2" fmla="*/ 2157419 h 2157419"/>
                <a:gd name="connsiteX3" fmla="*/ 0 w 4667938"/>
                <a:gd name="connsiteY3" fmla="*/ 1263107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67938"/>
                <a:gd name="connsiteY0" fmla="*/ 1259132 h 2157419"/>
                <a:gd name="connsiteX1" fmla="*/ 3653520 w 4667938"/>
                <a:gd name="connsiteY1" fmla="*/ 0 h 2157419"/>
                <a:gd name="connsiteX2" fmla="*/ 4667938 w 4667938"/>
                <a:gd name="connsiteY2" fmla="*/ 2157419 h 2157419"/>
                <a:gd name="connsiteX3" fmla="*/ 0 w 4667938"/>
                <a:gd name="connsiteY3" fmla="*/ 1259132 h 2157419"/>
                <a:gd name="connsiteX0" fmla="*/ 0 w 4659987"/>
                <a:gd name="connsiteY0" fmla="*/ 1251181 h 2157419"/>
                <a:gd name="connsiteX1" fmla="*/ 3645569 w 4659987"/>
                <a:gd name="connsiteY1" fmla="*/ 0 h 2157419"/>
                <a:gd name="connsiteX2" fmla="*/ 4659987 w 4659987"/>
                <a:gd name="connsiteY2" fmla="*/ 2157419 h 2157419"/>
                <a:gd name="connsiteX3" fmla="*/ 0 w 4659987"/>
                <a:gd name="connsiteY3" fmla="*/ 1251181 h 2157419"/>
                <a:gd name="connsiteX0" fmla="*/ 0 w 4674275"/>
                <a:gd name="connsiteY0" fmla="*/ 1251181 h 2157419"/>
                <a:gd name="connsiteX1" fmla="*/ 3645569 w 4674275"/>
                <a:gd name="connsiteY1" fmla="*/ 0 h 2157419"/>
                <a:gd name="connsiteX2" fmla="*/ 4674275 w 4674275"/>
                <a:gd name="connsiteY2" fmla="*/ 2157419 h 2157419"/>
                <a:gd name="connsiteX3" fmla="*/ 0 w 4674275"/>
                <a:gd name="connsiteY3" fmla="*/ 1251181 h 2157419"/>
                <a:gd name="connsiteX0" fmla="*/ 0 w 4683800"/>
                <a:gd name="connsiteY0" fmla="*/ 1251181 h 2157419"/>
                <a:gd name="connsiteX1" fmla="*/ 3655094 w 4683800"/>
                <a:gd name="connsiteY1" fmla="*/ 0 h 2157419"/>
                <a:gd name="connsiteX2" fmla="*/ 4683800 w 4683800"/>
                <a:gd name="connsiteY2" fmla="*/ 2157419 h 2157419"/>
                <a:gd name="connsiteX3" fmla="*/ 0 w 4683800"/>
                <a:gd name="connsiteY3" fmla="*/ 1251181 h 2157419"/>
                <a:gd name="connsiteX0" fmla="*/ 0 w 4695230"/>
                <a:gd name="connsiteY0" fmla="*/ 1251181 h 2157419"/>
                <a:gd name="connsiteX1" fmla="*/ 3666524 w 4695230"/>
                <a:gd name="connsiteY1" fmla="*/ 0 h 2157419"/>
                <a:gd name="connsiteX2" fmla="*/ 4695230 w 4695230"/>
                <a:gd name="connsiteY2" fmla="*/ 2157419 h 2157419"/>
                <a:gd name="connsiteX3" fmla="*/ 0 w 4695230"/>
                <a:gd name="connsiteY3" fmla="*/ 1251181 h 2157419"/>
                <a:gd name="connsiteX0" fmla="*/ 0 w 4695230"/>
                <a:gd name="connsiteY0" fmla="*/ 1251181 h 2171067"/>
                <a:gd name="connsiteX1" fmla="*/ 3666524 w 4695230"/>
                <a:gd name="connsiteY1" fmla="*/ 0 h 2171067"/>
                <a:gd name="connsiteX2" fmla="*/ 4695230 w 4695230"/>
                <a:gd name="connsiteY2" fmla="*/ 2171067 h 2171067"/>
                <a:gd name="connsiteX3" fmla="*/ 0 w 4695230"/>
                <a:gd name="connsiteY3" fmla="*/ 1251181 h 2171067"/>
                <a:gd name="connsiteX0" fmla="*/ 0 w 4708878"/>
                <a:gd name="connsiteY0" fmla="*/ 1251181 h 2184715"/>
                <a:gd name="connsiteX1" fmla="*/ 3666524 w 4708878"/>
                <a:gd name="connsiteY1" fmla="*/ 0 h 2184715"/>
                <a:gd name="connsiteX2" fmla="*/ 4708878 w 4708878"/>
                <a:gd name="connsiteY2" fmla="*/ 2184715 h 2184715"/>
                <a:gd name="connsiteX3" fmla="*/ 0 w 4708878"/>
                <a:gd name="connsiteY3" fmla="*/ 1251181 h 2184715"/>
                <a:gd name="connsiteX0" fmla="*/ 0 w 4722526"/>
                <a:gd name="connsiteY0" fmla="*/ 1251181 h 2198363"/>
                <a:gd name="connsiteX1" fmla="*/ 3666524 w 4722526"/>
                <a:gd name="connsiteY1" fmla="*/ 0 h 2198363"/>
                <a:gd name="connsiteX2" fmla="*/ 4722526 w 4722526"/>
                <a:gd name="connsiteY2" fmla="*/ 2198363 h 2198363"/>
                <a:gd name="connsiteX3" fmla="*/ 0 w 4722526"/>
                <a:gd name="connsiteY3" fmla="*/ 1251181 h 2198363"/>
                <a:gd name="connsiteX0" fmla="*/ 0 w 4658916"/>
                <a:gd name="connsiteY0" fmla="*/ 1251181 h 2190411"/>
                <a:gd name="connsiteX1" fmla="*/ 3666524 w 4658916"/>
                <a:gd name="connsiteY1" fmla="*/ 0 h 2190411"/>
                <a:gd name="connsiteX2" fmla="*/ 4658916 w 4658916"/>
                <a:gd name="connsiteY2" fmla="*/ 2190411 h 2190411"/>
                <a:gd name="connsiteX3" fmla="*/ 0 w 4658916"/>
                <a:gd name="connsiteY3" fmla="*/ 1251181 h 2190411"/>
                <a:gd name="connsiteX0" fmla="*/ 0 w 4658916"/>
                <a:gd name="connsiteY0" fmla="*/ 1251181 h 2166557"/>
                <a:gd name="connsiteX1" fmla="*/ 3666524 w 4658916"/>
                <a:gd name="connsiteY1" fmla="*/ 0 h 2166557"/>
                <a:gd name="connsiteX2" fmla="*/ 4658916 w 4658916"/>
                <a:gd name="connsiteY2" fmla="*/ 2166557 h 2166557"/>
                <a:gd name="connsiteX3" fmla="*/ 0 w 4658916"/>
                <a:gd name="connsiteY3" fmla="*/ 1251181 h 2166557"/>
                <a:gd name="connsiteX0" fmla="*/ 0 w 4670136"/>
                <a:gd name="connsiteY0" fmla="*/ 1251181 h 2166557"/>
                <a:gd name="connsiteX1" fmla="*/ 3677744 w 4670136"/>
                <a:gd name="connsiteY1" fmla="*/ 0 h 2166557"/>
                <a:gd name="connsiteX2" fmla="*/ 4670136 w 4670136"/>
                <a:gd name="connsiteY2" fmla="*/ 2166557 h 2166557"/>
                <a:gd name="connsiteX3" fmla="*/ 0 w 4670136"/>
                <a:gd name="connsiteY3" fmla="*/ 1251181 h 2166557"/>
                <a:gd name="connsiteX0" fmla="*/ 0 w 4653306"/>
                <a:gd name="connsiteY0" fmla="*/ 1251181 h 2166557"/>
                <a:gd name="connsiteX1" fmla="*/ 3660914 w 4653306"/>
                <a:gd name="connsiteY1" fmla="*/ 0 h 2166557"/>
                <a:gd name="connsiteX2" fmla="*/ 4653306 w 4653306"/>
                <a:gd name="connsiteY2" fmla="*/ 2166557 h 2166557"/>
                <a:gd name="connsiteX3" fmla="*/ 0 w 4653306"/>
                <a:gd name="connsiteY3" fmla="*/ 1251181 h 2166557"/>
                <a:gd name="connsiteX0" fmla="*/ 0 w 4001299"/>
                <a:gd name="connsiteY0" fmla="*/ 869518 h 2166557"/>
                <a:gd name="connsiteX1" fmla="*/ 3008907 w 4001299"/>
                <a:gd name="connsiteY1" fmla="*/ 0 h 2166557"/>
                <a:gd name="connsiteX2" fmla="*/ 4001299 w 4001299"/>
                <a:gd name="connsiteY2" fmla="*/ 2166557 h 2166557"/>
                <a:gd name="connsiteX3" fmla="*/ 0 w 4001299"/>
                <a:gd name="connsiteY3" fmla="*/ 869518 h 2166557"/>
                <a:gd name="connsiteX0" fmla="*/ 0 w 4645354"/>
                <a:gd name="connsiteY0" fmla="*/ 1251181 h 2166557"/>
                <a:gd name="connsiteX1" fmla="*/ 3652962 w 4645354"/>
                <a:gd name="connsiteY1" fmla="*/ 0 h 2166557"/>
                <a:gd name="connsiteX2" fmla="*/ 4645354 w 4645354"/>
                <a:gd name="connsiteY2" fmla="*/ 2166557 h 2166557"/>
                <a:gd name="connsiteX3" fmla="*/ 0 w 4645354"/>
                <a:gd name="connsiteY3" fmla="*/ 1251181 h 2166557"/>
                <a:gd name="connsiteX0" fmla="*/ 0 w 4645354"/>
                <a:gd name="connsiteY0" fmla="*/ 1243230 h 2166557"/>
                <a:gd name="connsiteX1" fmla="*/ 3652962 w 4645354"/>
                <a:gd name="connsiteY1" fmla="*/ 0 h 2166557"/>
                <a:gd name="connsiteX2" fmla="*/ 4645354 w 4645354"/>
                <a:gd name="connsiteY2" fmla="*/ 2166557 h 2166557"/>
                <a:gd name="connsiteX3" fmla="*/ 0 w 4645354"/>
                <a:gd name="connsiteY3" fmla="*/ 1243230 h 2166557"/>
              </a:gdLst>
              <a:ahLst/>
              <a:cxnLst>
                <a:cxn ang="0">
                  <a:pos x="connsiteX0" y="connsiteY0"/>
                </a:cxn>
                <a:cxn ang="0">
                  <a:pos x="connsiteX1" y="connsiteY1"/>
                </a:cxn>
                <a:cxn ang="0">
                  <a:pos x="connsiteX2" y="connsiteY2"/>
                </a:cxn>
                <a:cxn ang="0">
                  <a:pos x="connsiteX3" y="connsiteY3"/>
                </a:cxn>
              </a:cxnLst>
              <a:rect l="l" t="t" r="r" b="b"/>
              <a:pathLst>
                <a:path w="4645354" h="2166557">
                  <a:moveTo>
                    <a:pt x="0" y="1243230"/>
                  </a:moveTo>
                  <a:lnTo>
                    <a:pt x="3652962" y="0"/>
                  </a:lnTo>
                  <a:lnTo>
                    <a:pt x="4645354" y="2166557"/>
                  </a:lnTo>
                  <a:lnTo>
                    <a:pt x="0" y="1243230"/>
                  </a:lnTo>
                  <a:close/>
                </a:path>
              </a:pathLst>
            </a:custGeom>
            <a:gradFill>
              <a:gsLst>
                <a:gs pos="100000">
                  <a:schemeClr val="accent3"/>
                </a:gs>
                <a:gs pos="46000">
                  <a:schemeClr val="accent2"/>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8" name="Freeform 37"/>
            <p:cNvSpPr/>
            <p:nvPr/>
          </p:nvSpPr>
          <p:spPr>
            <a:xfrm>
              <a:off x="3541852" y="3007895"/>
              <a:ext cx="2834884" cy="2947737"/>
            </a:xfrm>
            <a:custGeom>
              <a:avLst/>
              <a:gdLst>
                <a:gd name="connsiteX0" fmla="*/ 0 w 2791326"/>
                <a:gd name="connsiteY0" fmla="*/ 1816768 h 2947737"/>
                <a:gd name="connsiteX1" fmla="*/ 493294 w 2791326"/>
                <a:gd name="connsiteY1" fmla="*/ 2947737 h 2947737"/>
                <a:gd name="connsiteX2" fmla="*/ 2791326 w 2791326"/>
                <a:gd name="connsiteY2" fmla="*/ 0 h 2947737"/>
                <a:gd name="connsiteX3" fmla="*/ 0 w 2791326"/>
                <a:gd name="connsiteY3" fmla="*/ 1816768 h 2947737"/>
                <a:gd name="connsiteX0" fmla="*/ 0 w 2799638"/>
                <a:gd name="connsiteY0" fmla="*/ 1845863 h 2947737"/>
                <a:gd name="connsiteX1" fmla="*/ 501606 w 2799638"/>
                <a:gd name="connsiteY1" fmla="*/ 2947737 h 2947737"/>
                <a:gd name="connsiteX2" fmla="*/ 2799638 w 2799638"/>
                <a:gd name="connsiteY2" fmla="*/ 0 h 2947737"/>
                <a:gd name="connsiteX3" fmla="*/ 0 w 2799638"/>
                <a:gd name="connsiteY3" fmla="*/ 1845863 h 2947737"/>
                <a:gd name="connsiteX0" fmla="*/ 0 w 2826933"/>
                <a:gd name="connsiteY0" fmla="*/ 1886806 h 2947737"/>
                <a:gd name="connsiteX1" fmla="*/ 528901 w 2826933"/>
                <a:gd name="connsiteY1" fmla="*/ 2947737 h 2947737"/>
                <a:gd name="connsiteX2" fmla="*/ 2826933 w 2826933"/>
                <a:gd name="connsiteY2" fmla="*/ 0 h 2947737"/>
                <a:gd name="connsiteX3" fmla="*/ 0 w 2826933"/>
                <a:gd name="connsiteY3" fmla="*/ 1886806 h 2947737"/>
                <a:gd name="connsiteX0" fmla="*/ 0 w 2826933"/>
                <a:gd name="connsiteY0" fmla="*/ 1859510 h 2947737"/>
                <a:gd name="connsiteX1" fmla="*/ 528901 w 2826933"/>
                <a:gd name="connsiteY1" fmla="*/ 2947737 h 2947737"/>
                <a:gd name="connsiteX2" fmla="*/ 2826933 w 2826933"/>
                <a:gd name="connsiteY2" fmla="*/ 0 h 2947737"/>
                <a:gd name="connsiteX3" fmla="*/ 0 w 2826933"/>
                <a:gd name="connsiteY3" fmla="*/ 1859510 h 2947737"/>
                <a:gd name="connsiteX0" fmla="*/ 0 w 2826933"/>
                <a:gd name="connsiteY0" fmla="*/ 1859510 h 2947737"/>
                <a:gd name="connsiteX1" fmla="*/ 523291 w 2826933"/>
                <a:gd name="connsiteY1" fmla="*/ 2947737 h 2947737"/>
                <a:gd name="connsiteX2" fmla="*/ 2826933 w 2826933"/>
                <a:gd name="connsiteY2" fmla="*/ 0 h 2947737"/>
                <a:gd name="connsiteX3" fmla="*/ 0 w 2826933"/>
                <a:gd name="connsiteY3" fmla="*/ 1859510 h 2947737"/>
                <a:gd name="connsiteX0" fmla="*/ 0 w 2834884"/>
                <a:gd name="connsiteY0" fmla="*/ 1867462 h 2947737"/>
                <a:gd name="connsiteX1" fmla="*/ 531242 w 2834884"/>
                <a:gd name="connsiteY1" fmla="*/ 2947737 h 2947737"/>
                <a:gd name="connsiteX2" fmla="*/ 2834884 w 2834884"/>
                <a:gd name="connsiteY2" fmla="*/ 0 h 2947737"/>
                <a:gd name="connsiteX3" fmla="*/ 0 w 2834884"/>
                <a:gd name="connsiteY3" fmla="*/ 1867462 h 2947737"/>
              </a:gdLst>
              <a:ahLst/>
              <a:cxnLst>
                <a:cxn ang="0">
                  <a:pos x="connsiteX0" y="connsiteY0"/>
                </a:cxn>
                <a:cxn ang="0">
                  <a:pos x="connsiteX1" y="connsiteY1"/>
                </a:cxn>
                <a:cxn ang="0">
                  <a:pos x="connsiteX2" y="connsiteY2"/>
                </a:cxn>
                <a:cxn ang="0">
                  <a:pos x="connsiteX3" y="connsiteY3"/>
                </a:cxn>
              </a:cxnLst>
              <a:rect l="l" t="t" r="r" b="b"/>
              <a:pathLst>
                <a:path w="2834884" h="2947737">
                  <a:moveTo>
                    <a:pt x="0" y="1867462"/>
                  </a:moveTo>
                  <a:lnTo>
                    <a:pt x="531242" y="2947737"/>
                  </a:lnTo>
                  <a:lnTo>
                    <a:pt x="2834884" y="0"/>
                  </a:lnTo>
                  <a:lnTo>
                    <a:pt x="0" y="1867462"/>
                  </a:lnTo>
                  <a:close/>
                </a:path>
              </a:pathLst>
            </a:custGeom>
            <a:gradFill>
              <a:gsLst>
                <a:gs pos="100000">
                  <a:schemeClr val="accent3"/>
                </a:gs>
                <a:gs pos="44000">
                  <a:schemeClr val="accent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grpSp>
      <p:sp>
        <p:nvSpPr>
          <p:cNvPr id="2" name="Title 1"/>
          <p:cNvSpPr>
            <a:spLocks noGrp="1"/>
          </p:cNvSpPr>
          <p:nvPr userDrawn="1">
            <p:ph type="title"/>
          </p:nvPr>
        </p:nvSpPr>
        <p:spPr>
          <a:xfrm>
            <a:off x="379413" y="1333500"/>
            <a:ext cx="9521825" cy="4127499"/>
          </a:xfrm>
          <a:noFill/>
        </p:spPr>
        <p:txBody>
          <a:bodyPr rIns="0" anchor="t"/>
          <a:lstStyle>
            <a:lvl1pPr>
              <a:defRPr sz="48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1489662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Title 1"/>
          <p:cNvSpPr>
            <a:spLocks noGrp="1"/>
          </p:cNvSpPr>
          <p:nvPr>
            <p:ph type="ctrTitle"/>
          </p:nvPr>
        </p:nvSpPr>
        <p:spPr>
          <a:xfrm>
            <a:off x="379413" y="2321901"/>
            <a:ext cx="9521825" cy="1994392"/>
          </a:xfrm>
        </p:spPr>
        <p:txBody>
          <a:bodyPr vert="horz" wrap="square" lIns="0" tIns="0" rIns="0" bIns="0" anchor="t" anchorCtr="0">
            <a:noAutofit/>
          </a:bodyPr>
          <a:lstStyle>
            <a:lvl1pPr algn="l">
              <a:defRPr sz="7200">
                <a:solidFill>
                  <a:schemeClr val="bg1"/>
                </a:solidFill>
              </a:defRPr>
            </a:lvl1pPr>
          </a:lstStyle>
          <a:p>
            <a:r>
              <a:rPr lang="en-US"/>
              <a:t>Click to edit Master title style</a:t>
            </a:r>
            <a:endParaRPr lang="en-GB" dirty="0"/>
          </a:p>
        </p:txBody>
      </p:sp>
    </p:spTree>
    <p:extLst>
      <p:ext uri="{BB962C8B-B14F-4D97-AF65-F5344CB8AC3E}">
        <p14:creationId xmlns:p14="http://schemas.microsoft.com/office/powerpoint/2010/main" val="3450264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over_1 line/subhead">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88952" cy="6882059"/>
          </a:xfrm>
          <a:prstGeom prst="rect">
            <a:avLst/>
          </a:prstGeom>
        </p:spPr>
      </p:pic>
      <p:sp>
        <p:nvSpPr>
          <p:cNvPr id="19" name="Freeform 18"/>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4048" y="2282634"/>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sp>
        <p:nvSpPr>
          <p:cNvPr id="3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
        <p:nvSpPr>
          <p:cNvPr id="13" name="Text Placeholder 7"/>
          <p:cNvSpPr>
            <a:spLocks noGrp="1"/>
          </p:cNvSpPr>
          <p:nvPr>
            <p:ph type="body" sz="quarter" idx="10" hasCustomPrompt="1"/>
          </p:nvPr>
        </p:nvSpPr>
        <p:spPr>
          <a:xfrm>
            <a:off x="384048" y="5204499"/>
            <a:ext cx="4449209"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45" name="Picture 4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994207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ver_1 lin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12192000" cy="6882059"/>
          </a:xfrm>
          <a:prstGeom prst="rect">
            <a:avLst/>
          </a:prstGeom>
        </p:spPr>
      </p:pic>
      <p:sp>
        <p:nvSpPr>
          <p:cNvPr id="8" name="Freeform 7"/>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pic>
        <p:nvPicPr>
          <p:cNvPr id="33" name="Picture 3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Tree>
    <p:extLst>
      <p:ext uri="{BB962C8B-B14F-4D97-AF65-F5344CB8AC3E}">
        <p14:creationId xmlns:p14="http://schemas.microsoft.com/office/powerpoint/2010/main" val="1895917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Message">
    <p:spTree>
      <p:nvGrpSpPr>
        <p:cNvPr id="1" name=""/>
        <p:cNvGrpSpPr/>
        <p:nvPr/>
      </p:nvGrpSpPr>
      <p:grpSpPr>
        <a:xfrm>
          <a:off x="0" y="0"/>
          <a:ext cx="0" cy="0"/>
          <a:chOff x="0" y="0"/>
          <a:chExt cx="0" cy="0"/>
        </a:xfrm>
      </p:grpSpPr>
      <p:sp>
        <p:nvSpPr>
          <p:cNvPr id="5" name="Content Placeholder 4"/>
          <p:cNvSpPr>
            <a:spLocks noGrp="1"/>
          </p:cNvSpPr>
          <p:nvPr>
            <p:ph sz="quarter" idx="15"/>
          </p:nvPr>
        </p:nvSpPr>
        <p:spPr>
          <a:xfrm>
            <a:off x="379410" y="1298448"/>
            <a:ext cx="11431590" cy="4956048"/>
          </a:xfrm>
        </p:spPr>
        <p:txBody>
          <a:bodyPr/>
          <a:lstStyle>
            <a:lvl1pPr>
              <a:lnSpc>
                <a:spcPct val="90000"/>
              </a:lnSpc>
              <a:defRPr sz="4800">
                <a:latin typeface="+mj-lt"/>
              </a:defRPr>
            </a:lvl1pPr>
            <a:lvl2pPr>
              <a:defRPr sz="4400">
                <a:latin typeface="+mj-lt"/>
              </a:defRPr>
            </a:lvl2pPr>
            <a:lvl3pPr>
              <a:defRPr sz="4000">
                <a:latin typeface="+mj-lt"/>
              </a:defRPr>
            </a:lvl3pPr>
            <a:lvl4pPr>
              <a:defRPr sz="3600">
                <a:latin typeface="+mj-lt"/>
              </a:defRPr>
            </a:lvl4pPr>
            <a:lvl5pPr>
              <a:defRPr sz="3200">
                <a:latin typeface="+mj-lt"/>
              </a:defRPr>
            </a:lvl5pPr>
          </a:lstStyle>
          <a:p>
            <a:pPr lvl="0"/>
            <a:r>
              <a:rPr lang="en-US"/>
              <a:t>Click to edit Master text styles</a:t>
            </a:r>
          </a:p>
        </p:txBody>
      </p:sp>
      <p:sp>
        <p:nvSpPr>
          <p:cNvPr id="3" name="Freeform 5"/>
          <p:cNvSpPr>
            <a:spLocks noEditPoints="1"/>
          </p:cNvSpPr>
          <p:nvPr userDrawn="1"/>
        </p:nvSpPr>
        <p:spPr bwMode="auto">
          <a:xfrm>
            <a:off x="5913041" y="6475413"/>
            <a:ext cx="365919" cy="194691"/>
          </a:xfrm>
          <a:custGeom>
            <a:avLst/>
            <a:gdLst>
              <a:gd name="T0" fmla="*/ 109 w 138"/>
              <a:gd name="T1" fmla="*/ 2 h 72"/>
              <a:gd name="T2" fmla="*/ 99 w 138"/>
              <a:gd name="T3" fmla="*/ 42 h 72"/>
              <a:gd name="T4" fmla="*/ 89 w 138"/>
              <a:gd name="T5" fmla="*/ 2 h 72"/>
              <a:gd name="T6" fmla="*/ 61 w 138"/>
              <a:gd name="T7" fmla="*/ 2 h 72"/>
              <a:gd name="T8" fmla="*/ 61 w 138"/>
              <a:gd name="T9" fmla="*/ 17 h 72"/>
              <a:gd name="T10" fmla="*/ 33 w 138"/>
              <a:gd name="T11" fmla="*/ 0 h 72"/>
              <a:gd name="T12" fmla="*/ 3 w 138"/>
              <a:gd name="T13" fmla="*/ 24 h 72"/>
              <a:gd name="T14" fmla="*/ 22 w 138"/>
              <a:gd name="T15" fmla="*/ 24 h 72"/>
              <a:gd name="T16" fmla="*/ 32 w 138"/>
              <a:gd name="T17" fmla="*/ 16 h 72"/>
              <a:gd name="T18" fmla="*/ 41 w 138"/>
              <a:gd name="T19" fmla="*/ 22 h 72"/>
              <a:gd name="T20" fmla="*/ 32 w 138"/>
              <a:gd name="T21" fmla="*/ 28 h 72"/>
              <a:gd name="T22" fmla="*/ 26 w 138"/>
              <a:gd name="T23" fmla="*/ 28 h 72"/>
              <a:gd name="T24" fmla="*/ 26 w 138"/>
              <a:gd name="T25" fmla="*/ 41 h 72"/>
              <a:gd name="T26" fmla="*/ 32 w 138"/>
              <a:gd name="T27" fmla="*/ 41 h 72"/>
              <a:gd name="T28" fmla="*/ 40 w 138"/>
              <a:gd name="T29" fmla="*/ 48 h 72"/>
              <a:gd name="T30" fmla="*/ 31 w 138"/>
              <a:gd name="T31" fmla="*/ 56 h 72"/>
              <a:gd name="T32" fmla="*/ 20 w 138"/>
              <a:gd name="T33" fmla="*/ 43 h 72"/>
              <a:gd name="T34" fmla="*/ 0 w 138"/>
              <a:gd name="T35" fmla="*/ 43 h 72"/>
              <a:gd name="T36" fmla="*/ 32 w 138"/>
              <a:gd name="T37" fmla="*/ 72 h 72"/>
              <a:gd name="T38" fmla="*/ 61 w 138"/>
              <a:gd name="T39" fmla="*/ 57 h 72"/>
              <a:gd name="T40" fmla="*/ 61 w 138"/>
              <a:gd name="T41" fmla="*/ 71 h 72"/>
              <a:gd name="T42" fmla="*/ 80 w 138"/>
              <a:gd name="T43" fmla="*/ 71 h 72"/>
              <a:gd name="T44" fmla="*/ 80 w 138"/>
              <a:gd name="T45" fmla="*/ 27 h 72"/>
              <a:gd name="T46" fmla="*/ 91 w 138"/>
              <a:gd name="T47" fmla="*/ 71 h 72"/>
              <a:gd name="T48" fmla="*/ 108 w 138"/>
              <a:gd name="T49" fmla="*/ 71 h 72"/>
              <a:gd name="T50" fmla="*/ 119 w 138"/>
              <a:gd name="T51" fmla="*/ 27 h 72"/>
              <a:gd name="T52" fmla="*/ 119 w 138"/>
              <a:gd name="T53" fmla="*/ 71 h 72"/>
              <a:gd name="T54" fmla="*/ 138 w 138"/>
              <a:gd name="T55" fmla="*/ 71 h 72"/>
              <a:gd name="T56" fmla="*/ 138 w 138"/>
              <a:gd name="T57" fmla="*/ 2 h 72"/>
              <a:gd name="T58" fmla="*/ 109 w 138"/>
              <a:gd name="T59" fmla="*/ 2 h 72"/>
              <a:gd name="T60" fmla="*/ 61 w 138"/>
              <a:gd name="T61" fmla="*/ 42 h 72"/>
              <a:gd name="T62" fmla="*/ 53 w 138"/>
              <a:gd name="T63" fmla="*/ 34 h 72"/>
              <a:gd name="T64" fmla="*/ 61 w 138"/>
              <a:gd name="T65" fmla="*/ 25 h 72"/>
              <a:gd name="T66" fmla="*/ 61 w 138"/>
              <a:gd name="T6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38" h="72">
                <a:moveTo>
                  <a:pt x="109" y="2"/>
                </a:moveTo>
                <a:cubicBezTo>
                  <a:pt x="99" y="42"/>
                  <a:pt x="99" y="42"/>
                  <a:pt x="99" y="42"/>
                </a:cubicBezTo>
                <a:cubicBezTo>
                  <a:pt x="89" y="2"/>
                  <a:pt x="89" y="2"/>
                  <a:pt x="89" y="2"/>
                </a:cubicBezTo>
                <a:cubicBezTo>
                  <a:pt x="61" y="2"/>
                  <a:pt x="61" y="2"/>
                  <a:pt x="61" y="2"/>
                </a:cubicBezTo>
                <a:cubicBezTo>
                  <a:pt x="61" y="17"/>
                  <a:pt x="61" y="17"/>
                  <a:pt x="61" y="17"/>
                </a:cubicBezTo>
                <a:cubicBezTo>
                  <a:pt x="57" y="4"/>
                  <a:pt x="44" y="0"/>
                  <a:pt x="33" y="0"/>
                </a:cubicBezTo>
                <a:cubicBezTo>
                  <a:pt x="19" y="0"/>
                  <a:pt x="4" y="6"/>
                  <a:pt x="3" y="24"/>
                </a:cubicBezTo>
                <a:cubicBezTo>
                  <a:pt x="22" y="24"/>
                  <a:pt x="22" y="24"/>
                  <a:pt x="22" y="24"/>
                </a:cubicBezTo>
                <a:cubicBezTo>
                  <a:pt x="22" y="19"/>
                  <a:pt x="28" y="16"/>
                  <a:pt x="32" y="16"/>
                </a:cubicBezTo>
                <a:cubicBezTo>
                  <a:pt x="38" y="16"/>
                  <a:pt x="41" y="18"/>
                  <a:pt x="41" y="22"/>
                </a:cubicBezTo>
                <a:cubicBezTo>
                  <a:pt x="41" y="25"/>
                  <a:pt x="39" y="28"/>
                  <a:pt x="32" y="28"/>
                </a:cubicBezTo>
                <a:cubicBezTo>
                  <a:pt x="26" y="28"/>
                  <a:pt x="26" y="28"/>
                  <a:pt x="26" y="28"/>
                </a:cubicBezTo>
                <a:cubicBezTo>
                  <a:pt x="26" y="41"/>
                  <a:pt x="26" y="41"/>
                  <a:pt x="26" y="41"/>
                </a:cubicBezTo>
                <a:cubicBezTo>
                  <a:pt x="32" y="41"/>
                  <a:pt x="32" y="41"/>
                  <a:pt x="32" y="41"/>
                </a:cubicBezTo>
                <a:cubicBezTo>
                  <a:pt x="35" y="41"/>
                  <a:pt x="40" y="43"/>
                  <a:pt x="40" y="48"/>
                </a:cubicBezTo>
                <a:cubicBezTo>
                  <a:pt x="40" y="53"/>
                  <a:pt x="36" y="56"/>
                  <a:pt x="31" y="56"/>
                </a:cubicBezTo>
                <a:cubicBezTo>
                  <a:pt x="23" y="56"/>
                  <a:pt x="20" y="49"/>
                  <a:pt x="20" y="43"/>
                </a:cubicBezTo>
                <a:cubicBezTo>
                  <a:pt x="0" y="43"/>
                  <a:pt x="0" y="43"/>
                  <a:pt x="0" y="43"/>
                </a:cubicBezTo>
                <a:cubicBezTo>
                  <a:pt x="1" y="47"/>
                  <a:pt x="0" y="72"/>
                  <a:pt x="32" y="72"/>
                </a:cubicBezTo>
                <a:cubicBezTo>
                  <a:pt x="47" y="72"/>
                  <a:pt x="58" y="66"/>
                  <a:pt x="61" y="57"/>
                </a:cubicBezTo>
                <a:cubicBezTo>
                  <a:pt x="61" y="71"/>
                  <a:pt x="61" y="71"/>
                  <a:pt x="61" y="71"/>
                </a:cubicBezTo>
                <a:cubicBezTo>
                  <a:pt x="80" y="71"/>
                  <a:pt x="80" y="71"/>
                  <a:pt x="80" y="71"/>
                </a:cubicBezTo>
                <a:cubicBezTo>
                  <a:pt x="80" y="27"/>
                  <a:pt x="80" y="27"/>
                  <a:pt x="80" y="27"/>
                </a:cubicBezTo>
                <a:cubicBezTo>
                  <a:pt x="91" y="71"/>
                  <a:pt x="91" y="71"/>
                  <a:pt x="91" y="71"/>
                </a:cubicBezTo>
                <a:cubicBezTo>
                  <a:pt x="108" y="71"/>
                  <a:pt x="108" y="71"/>
                  <a:pt x="108" y="71"/>
                </a:cubicBezTo>
                <a:cubicBezTo>
                  <a:pt x="119" y="27"/>
                  <a:pt x="119" y="27"/>
                  <a:pt x="119" y="27"/>
                </a:cubicBezTo>
                <a:cubicBezTo>
                  <a:pt x="119" y="71"/>
                  <a:pt x="119" y="71"/>
                  <a:pt x="119" y="71"/>
                </a:cubicBezTo>
                <a:cubicBezTo>
                  <a:pt x="138" y="71"/>
                  <a:pt x="138" y="71"/>
                  <a:pt x="138" y="71"/>
                </a:cubicBezTo>
                <a:cubicBezTo>
                  <a:pt x="138" y="2"/>
                  <a:pt x="138" y="2"/>
                  <a:pt x="138" y="2"/>
                </a:cubicBezTo>
                <a:lnTo>
                  <a:pt x="109" y="2"/>
                </a:lnTo>
                <a:close/>
                <a:moveTo>
                  <a:pt x="61" y="42"/>
                </a:moveTo>
                <a:cubicBezTo>
                  <a:pt x="58" y="37"/>
                  <a:pt x="55" y="35"/>
                  <a:pt x="53" y="34"/>
                </a:cubicBezTo>
                <a:cubicBezTo>
                  <a:pt x="57" y="32"/>
                  <a:pt x="59" y="30"/>
                  <a:pt x="61" y="25"/>
                </a:cubicBezTo>
                <a:lnTo>
                  <a:pt x="61" y="42"/>
                </a:lnTo>
                <a:close/>
              </a:path>
            </a:pathLst>
          </a:custGeom>
          <a:solidFill>
            <a:srgbClr val="FF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0" tIns="0" rIns="0" bIns="0" numCol="1" anchor="t" anchorCtr="0" compatLnSpc="1">
            <a:prstTxWarp prst="textNoShape">
              <a:avLst/>
            </a:prstTxWarp>
            <a:noAutofit/>
          </a:bodyPr>
          <a:lstStyle/>
          <a:p>
            <a:endParaRPr lang="en-GB"/>
          </a:p>
        </p:txBody>
      </p:sp>
      <p:sp>
        <p:nvSpPr>
          <p:cNvPr id="4" name="TextBox 3"/>
          <p:cNvSpPr txBox="1"/>
          <p:nvPr userDrawn="1"/>
        </p:nvSpPr>
        <p:spPr>
          <a:xfrm>
            <a:off x="11590811" y="6596401"/>
            <a:ext cx="218681" cy="123111"/>
          </a:xfrm>
          <a:prstGeom prst="rect">
            <a:avLst/>
          </a:prstGeom>
          <a:noFill/>
        </p:spPr>
        <p:txBody>
          <a:bodyPr wrap="square" lIns="0" tIns="0" rIns="0" bIns="0" rtlCol="0">
            <a:spAutoFit/>
          </a:bodyPr>
          <a:lstStyle/>
          <a:p>
            <a:pPr algn="r"/>
            <a:fld id="{29B7B62B-0732-4BEA-A6C8-5CF96588F2B9}" type="slidenum">
              <a:rPr lang="en-US" sz="800" smtClean="0"/>
              <a:pPr algn="r"/>
              <a:t>‹#›</a:t>
            </a:fld>
            <a:endParaRPr lang="en-US" sz="800" dirty="0" err="1"/>
          </a:p>
        </p:txBody>
      </p:sp>
      <p:grpSp>
        <p:nvGrpSpPr>
          <p:cNvPr id="6" name="Group 22"/>
          <p:cNvGrpSpPr>
            <a:grpSpLocks/>
          </p:cNvGrpSpPr>
          <p:nvPr userDrawn="1"/>
        </p:nvGrpSpPr>
        <p:grpSpPr bwMode="auto">
          <a:xfrm>
            <a:off x="-264086" y="6596401"/>
            <a:ext cx="2147228" cy="184155"/>
            <a:chOff x="9374212" y="6574531"/>
            <a:chExt cx="2147228" cy="182885"/>
          </a:xfrm>
        </p:grpSpPr>
        <p:grpSp>
          <p:nvGrpSpPr>
            <p:cNvPr id="7" name="Group 8"/>
            <p:cNvGrpSpPr>
              <a:grpSpLocks/>
            </p:cNvGrpSpPr>
            <p:nvPr/>
          </p:nvGrpSpPr>
          <p:grpSpPr bwMode="auto">
            <a:xfrm>
              <a:off x="9374212" y="6574531"/>
              <a:ext cx="2147228" cy="182883"/>
              <a:chOff x="9378677" y="6574531"/>
              <a:chExt cx="2147228" cy="182883"/>
            </a:xfrm>
          </p:grpSpPr>
          <p:sp>
            <p:nvSpPr>
              <p:cNvPr id="9" name="Footer Placeholder 3"/>
              <p:cNvSpPr txBox="1">
                <a:spLocks/>
              </p:cNvSpPr>
              <p:nvPr/>
            </p:nvSpPr>
            <p:spPr bwMode="auto">
              <a:xfrm>
                <a:off x="10461203" y="6574537"/>
                <a:ext cx="1064702" cy="182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defTabSz="912813" eaLnBrk="0" hangingPunct="0">
                  <a:tabLst>
                    <a:tab pos="798513" algn="r"/>
                  </a:tabLst>
                  <a:defRPr sz="2400">
                    <a:solidFill>
                      <a:schemeClr val="tx1"/>
                    </a:solidFill>
                    <a:latin typeface="Arial" charset="0"/>
                    <a:ea typeface="ＭＳ Ｐゴシック" charset="0"/>
                    <a:cs typeface="Arial" charset="0"/>
                  </a:defRPr>
                </a:lvl1pPr>
                <a:lvl2pPr marL="742950" indent="-285750" defTabSz="912813" eaLnBrk="0" hangingPunct="0">
                  <a:tabLst>
                    <a:tab pos="798513" algn="r"/>
                  </a:tabLst>
                  <a:defRPr sz="2400">
                    <a:solidFill>
                      <a:schemeClr val="tx1"/>
                    </a:solidFill>
                    <a:latin typeface="Arial" charset="0"/>
                    <a:ea typeface="Arial" charset="0"/>
                    <a:cs typeface="Arial" charset="0"/>
                  </a:defRPr>
                </a:lvl2pPr>
                <a:lvl3pPr marL="1143000" indent="-228600" defTabSz="912813" eaLnBrk="0" hangingPunct="0">
                  <a:tabLst>
                    <a:tab pos="798513" algn="r"/>
                  </a:tabLst>
                  <a:defRPr sz="2400">
                    <a:solidFill>
                      <a:schemeClr val="tx1"/>
                    </a:solidFill>
                    <a:latin typeface="Arial" charset="0"/>
                    <a:ea typeface="Arial" charset="0"/>
                    <a:cs typeface="Arial" charset="0"/>
                  </a:defRPr>
                </a:lvl3pPr>
                <a:lvl4pPr marL="1600200" indent="-228600" defTabSz="912813" eaLnBrk="0" hangingPunct="0">
                  <a:tabLst>
                    <a:tab pos="798513" algn="r"/>
                  </a:tabLst>
                  <a:defRPr sz="2400">
                    <a:solidFill>
                      <a:schemeClr val="tx1"/>
                    </a:solidFill>
                    <a:latin typeface="Arial" charset="0"/>
                    <a:ea typeface="Arial" charset="0"/>
                    <a:cs typeface="Arial" charset="0"/>
                  </a:defRPr>
                </a:lvl4pPr>
                <a:lvl5pPr marL="2057400" indent="-228600" defTabSz="912813" eaLnBrk="0" hangingPunct="0">
                  <a:tabLst>
                    <a:tab pos="798513" algn="r"/>
                  </a:tabLst>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tabLst>
                    <a:tab pos="798513" algn="r"/>
                  </a:tabLs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tab pos="798513" algn="r"/>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All Rights Reserved.</a:t>
                </a:r>
              </a:p>
            </p:txBody>
          </p:sp>
          <p:sp>
            <p:nvSpPr>
              <p:cNvPr id="10" name="TextBox 25"/>
              <p:cNvSpPr txBox="1">
                <a:spLocks noChangeArrowheads="1"/>
              </p:cNvSpPr>
              <p:nvPr/>
            </p:nvSpPr>
            <p:spPr bwMode="auto">
              <a:xfrm>
                <a:off x="9378677" y="6574531"/>
                <a:ext cx="1177925"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defTabSz="912813" eaLnBrk="0" hangingPunct="0">
                  <a:defRPr sz="2400">
                    <a:solidFill>
                      <a:schemeClr val="tx1"/>
                    </a:solidFill>
                    <a:latin typeface="Arial" charset="0"/>
                    <a:ea typeface="ＭＳ Ｐゴシック" charset="0"/>
                    <a:cs typeface="Arial" charset="0"/>
                  </a:defRPr>
                </a:lvl1pPr>
                <a:lvl2pPr marL="742950" indent="-285750" defTabSz="912813" eaLnBrk="0" hangingPunct="0">
                  <a:defRPr sz="2400">
                    <a:solidFill>
                      <a:schemeClr val="tx1"/>
                    </a:solidFill>
                    <a:latin typeface="Arial" charset="0"/>
                    <a:ea typeface="Arial" charset="0"/>
                    <a:cs typeface="Arial" charset="0"/>
                  </a:defRPr>
                </a:lvl2pPr>
                <a:lvl3pPr marL="1143000" indent="-228600" defTabSz="912813" eaLnBrk="0" hangingPunct="0">
                  <a:defRPr sz="2400">
                    <a:solidFill>
                      <a:schemeClr val="tx1"/>
                    </a:solidFill>
                    <a:latin typeface="Arial" charset="0"/>
                    <a:ea typeface="Arial" charset="0"/>
                    <a:cs typeface="Arial" charset="0"/>
                  </a:defRPr>
                </a:lvl3pPr>
                <a:lvl4pPr marL="1600200" indent="-228600" defTabSz="912813" eaLnBrk="0" hangingPunct="0">
                  <a:defRPr sz="2400">
                    <a:solidFill>
                      <a:schemeClr val="tx1"/>
                    </a:solidFill>
                    <a:latin typeface="Arial" charset="0"/>
                    <a:ea typeface="Arial" charset="0"/>
                    <a:cs typeface="Arial" charset="0"/>
                  </a:defRPr>
                </a:lvl4pPr>
                <a:lvl5pPr marL="2057400" indent="-228600" defTabSz="912813" eaLnBrk="0" hangingPunct="0">
                  <a:defRPr sz="2400">
                    <a:solidFill>
                      <a:schemeClr val="tx1"/>
                    </a:solidFill>
                    <a:latin typeface="Arial" charset="0"/>
                    <a:ea typeface="Arial" charset="0"/>
                    <a:cs typeface="Arial" charset="0"/>
                  </a:defRPr>
                </a:lvl5pPr>
                <a:lvl6pPr marL="2514600" indent="-228600" defTabSz="912813"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defTabSz="912813"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defTabSz="912813"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defTabSz="912813"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algn="r" defTabSz="912813" eaLnBrk="1" fontAlgn="base" latinLnBrk="0" hangingPunct="1">
                  <a:lnSpc>
                    <a:spcPct val="100000"/>
                  </a:lnSpc>
                  <a:spcBef>
                    <a:spcPct val="0"/>
                  </a:spcBef>
                  <a:spcAft>
                    <a:spcPct val="0"/>
                  </a:spcAft>
                  <a:buClrTx/>
                  <a:buSzTx/>
                  <a:buFontTx/>
                  <a:buNone/>
                  <a:tabLst/>
                  <a:defRPr/>
                </a:pPr>
                <a:fld id="{75980DF0-75D0-FD4C-983E-614B6986212F}" type="datetime3">
                  <a:rPr kumimoji="0" lang="en-US" sz="800" b="0" i="0" u="none" strike="noStrike" kern="0" cap="none" spc="0" normalizeH="0" baseline="0" noProof="0" smtClean="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pPr marL="0" marR="0" lvl="0" indent="0" algn="r" defTabSz="912813" eaLnBrk="1" fontAlgn="base" latinLnBrk="0" hangingPunct="1">
                    <a:lnSpc>
                      <a:spcPct val="100000"/>
                    </a:lnSpc>
                    <a:spcBef>
                      <a:spcPct val="0"/>
                    </a:spcBef>
                    <a:spcAft>
                      <a:spcPct val="0"/>
                    </a:spcAft>
                    <a:buClrTx/>
                    <a:buSzTx/>
                    <a:buFontTx/>
                    <a:buNone/>
                    <a:tabLst/>
                    <a:defRPr/>
                  </a:pPr>
                  <a:t>31 October 2018</a:t>
                </a:fld>
                <a:endPar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endParaRPr>
              </a:p>
            </p:txBody>
          </p:sp>
          <p:sp>
            <p:nvSpPr>
              <p:cNvPr id="11" name="Rectangle 26"/>
              <p:cNvSpPr>
                <a:spLocks noChangeArrowheads="1"/>
              </p:cNvSpPr>
              <p:nvPr/>
            </p:nvSpPr>
            <p:spPr bwMode="auto">
              <a:xfrm>
                <a:off x="9513906" y="6589264"/>
                <a:ext cx="812067" cy="153425"/>
              </a:xfrm>
              <a:prstGeom prst="rect">
                <a:avLst/>
              </a:prstGeom>
              <a:solidFill>
                <a:sysClr val="window" lastClr="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defTabSz="912813"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a:ln>
                    <a:noFill/>
                  </a:ln>
                  <a:solidFill>
                    <a:prstClr val="black"/>
                  </a:solidFill>
                  <a:effectLst/>
                  <a:uLnTx/>
                  <a:uFillTx/>
                  <a:ea typeface="ＭＳ Ｐゴシック" charset="0"/>
                  <a:cs typeface="3M Circular TT Book" panose="020B0604020101020102" pitchFamily="34" charset="0"/>
                </a:endParaRPr>
              </a:p>
            </p:txBody>
          </p:sp>
        </p:grpSp>
        <p:sp>
          <p:nvSpPr>
            <p:cNvPr id="8" name="TextBox 24"/>
            <p:cNvSpPr txBox="1">
              <a:spLocks noChangeArrowheads="1"/>
            </p:cNvSpPr>
            <p:nvPr/>
          </p:nvSpPr>
          <p:spPr bwMode="auto">
            <a:xfrm>
              <a:off x="10017092" y="6574536"/>
              <a:ext cx="353517" cy="1828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r>
                <a:rPr kumimoji="0" lang="en-US" sz="800" b="0" i="0" u="none" strike="noStrike" kern="0" cap="none" spc="0" normalizeH="0" baseline="0" noProof="0" dirty="0">
                  <a:ln>
                    <a:noFill/>
                  </a:ln>
                  <a:solidFill>
                    <a:prstClr val="black"/>
                  </a:solidFill>
                  <a:effectLst/>
                  <a:uLnTx/>
                  <a:uFillTx/>
                  <a:latin typeface="3M Circular TT Book" panose="020B0604020101020102" pitchFamily="34" charset="0"/>
                  <a:ea typeface="ＭＳ Ｐゴシック" charset="0"/>
                  <a:cs typeface="3M Circular TT Book" panose="020B0604020101020102" pitchFamily="34" charset="0"/>
                </a:rPr>
                <a:t>© 3M</a:t>
              </a:r>
            </a:p>
          </p:txBody>
        </p:sp>
      </p:grpSp>
      <p:sp>
        <p:nvSpPr>
          <p:cNvPr id="12" name="Footer Placeholder 3"/>
          <p:cNvSpPr txBox="1">
            <a:spLocks/>
          </p:cNvSpPr>
          <p:nvPr userDrawn="1"/>
        </p:nvSpPr>
        <p:spPr bwMode="auto">
          <a:xfrm>
            <a:off x="1944949" y="6596401"/>
            <a:ext cx="1005840"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0" tIns="0" rIns="0" bIns="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algn="l" eaLnBrk="1" fontAlgn="base" hangingPunct="1">
              <a:spcBef>
                <a:spcPct val="0"/>
              </a:spcBef>
              <a:spcAft>
                <a:spcPct val="0"/>
              </a:spcAft>
              <a:defRPr/>
            </a:pPr>
            <a:r>
              <a:rPr lang="en-US" sz="800" dirty="0">
                <a:solidFill>
                  <a:prstClr val="black"/>
                </a:solidFill>
                <a:latin typeface="3M Circular TT Book" panose="020B0604020101020102" pitchFamily="34" charset="0"/>
                <a:cs typeface="3M Circular TT Book" panose="020B0604020101020102" pitchFamily="34" charset="0"/>
              </a:rPr>
              <a:t>3M Confidential.</a:t>
            </a:r>
          </a:p>
        </p:txBody>
      </p:sp>
    </p:spTree>
    <p:extLst>
      <p:ext uri="{BB962C8B-B14F-4D97-AF65-F5344CB8AC3E}">
        <p14:creationId xmlns:p14="http://schemas.microsoft.com/office/powerpoint/2010/main" val="1330704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ver_2 line/subhead">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1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
        <p:nvSpPr>
          <p:cNvPr id="15"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Tree>
    <p:extLst>
      <p:ext uri="{BB962C8B-B14F-4D97-AF65-F5344CB8AC3E}">
        <p14:creationId xmlns:p14="http://schemas.microsoft.com/office/powerpoint/2010/main" val="2774388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ver_2 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0"/>
            <a:ext cx="12188950"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4202163 w 6073111"/>
              <a:gd name="connsiteY1" fmla="*/ 0 h 5201391"/>
              <a:gd name="connsiteX2" fmla="*/ 6073111 w 6073111"/>
              <a:gd name="connsiteY2" fmla="*/ 1924807 h 5201391"/>
              <a:gd name="connsiteX3" fmla="*/ 0 w 6073111"/>
              <a:gd name="connsiteY3" fmla="*/ 5201391 h 5201391"/>
              <a:gd name="connsiteX0" fmla="*/ 0 w 6093450"/>
              <a:gd name="connsiteY0" fmla="*/ 5201391 h 5201391"/>
              <a:gd name="connsiteX1" fmla="*/ 4202163 w 6093450"/>
              <a:gd name="connsiteY1" fmla="*/ 0 h 5201391"/>
              <a:gd name="connsiteX2" fmla="*/ 6093450 w 6093450"/>
              <a:gd name="connsiteY2" fmla="*/ 1739044 h 5201391"/>
              <a:gd name="connsiteX3" fmla="*/ 0 w 6093450"/>
              <a:gd name="connsiteY3" fmla="*/ 5201391 h 5201391"/>
              <a:gd name="connsiteX0" fmla="*/ 0 w 6093450"/>
              <a:gd name="connsiteY0" fmla="*/ 5201391 h 5201391"/>
              <a:gd name="connsiteX1" fmla="*/ 4055721 w 6093450"/>
              <a:gd name="connsiteY1" fmla="*/ 0 h 5201391"/>
              <a:gd name="connsiteX2" fmla="*/ 6093450 w 6093450"/>
              <a:gd name="connsiteY2" fmla="*/ 1739044 h 5201391"/>
              <a:gd name="connsiteX3" fmla="*/ 0 w 6093450"/>
              <a:gd name="connsiteY3" fmla="*/ 5201391 h 5201391"/>
            </a:gdLst>
            <a:ahLst/>
            <a:cxnLst>
              <a:cxn ang="0">
                <a:pos x="connsiteX0" y="connsiteY0"/>
              </a:cxn>
              <a:cxn ang="0">
                <a:pos x="connsiteX1" y="connsiteY1"/>
              </a:cxn>
              <a:cxn ang="0">
                <a:pos x="connsiteX2" y="connsiteY2"/>
              </a:cxn>
              <a:cxn ang="0">
                <a:pos x="connsiteX3" y="connsiteY3"/>
              </a:cxn>
            </a:cxnLst>
            <a:rect l="l" t="t" r="r" b="b"/>
            <a:pathLst>
              <a:path w="6093450" h="5201391">
                <a:moveTo>
                  <a:pt x="0" y="5201391"/>
                </a:moveTo>
                <a:lnTo>
                  <a:pt x="4055721" y="0"/>
                </a:lnTo>
                <a:lnTo>
                  <a:pt x="6093450" y="1739044"/>
                </a:lnTo>
                <a:lnTo>
                  <a:pt x="0" y="5201391"/>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2" name="Text Placeholder 7"/>
          <p:cNvSpPr>
            <a:spLocks noGrp="1"/>
          </p:cNvSpPr>
          <p:nvPr>
            <p:ph type="body" sz="quarter" idx="11" hasCustomPrompt="1"/>
          </p:nvPr>
        </p:nvSpPr>
        <p:spPr>
          <a:xfrm>
            <a:off x="384048"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Tree>
    <p:extLst>
      <p:ext uri="{BB962C8B-B14F-4D97-AF65-F5344CB8AC3E}">
        <p14:creationId xmlns:p14="http://schemas.microsoft.com/office/powerpoint/2010/main" val="1311752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ver_3 line/subhead">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1"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
        <p:nvSpPr>
          <p:cNvPr id="22" name="Text Placeholder 7"/>
          <p:cNvSpPr>
            <a:spLocks noGrp="1"/>
          </p:cNvSpPr>
          <p:nvPr>
            <p:ph type="body" sz="quarter" idx="10" hasCustomPrompt="1"/>
          </p:nvPr>
        </p:nvSpPr>
        <p:spPr>
          <a:xfrm>
            <a:off x="384047" y="5204499"/>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Tree>
    <p:extLst>
      <p:ext uri="{BB962C8B-B14F-4D97-AF65-F5344CB8AC3E}">
        <p14:creationId xmlns:p14="http://schemas.microsoft.com/office/powerpoint/2010/main" val="2756725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ver_3 lin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8" name="Freeform 7"/>
          <p:cNvSpPr/>
          <p:nvPr userDrawn="1"/>
        </p:nvSpPr>
        <p:spPr>
          <a:xfrm flipH="1" flipV="1">
            <a:off x="1" y="-17420"/>
            <a:ext cx="8130732" cy="6875419"/>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6053933"/>
              <a:gd name="connsiteY0" fmla="*/ 5175181 h 5175181"/>
              <a:gd name="connsiteX1" fmla="*/ 2883458 w 6053933"/>
              <a:gd name="connsiteY1" fmla="*/ 0 h 5175181"/>
              <a:gd name="connsiteX2" fmla="*/ 6053933 w 6053933"/>
              <a:gd name="connsiteY2" fmla="*/ 1755636 h 5175181"/>
              <a:gd name="connsiteX3" fmla="*/ 0 w 6053933"/>
              <a:gd name="connsiteY3" fmla="*/ 5175181 h 5175181"/>
              <a:gd name="connsiteX0" fmla="*/ 0 w 6053933"/>
              <a:gd name="connsiteY0" fmla="*/ 5182329 h 5182329"/>
              <a:gd name="connsiteX1" fmla="*/ 2869075 w 6053933"/>
              <a:gd name="connsiteY1" fmla="*/ 0 h 5182329"/>
              <a:gd name="connsiteX2" fmla="*/ 6053933 w 6053933"/>
              <a:gd name="connsiteY2" fmla="*/ 1762784 h 5182329"/>
              <a:gd name="connsiteX3" fmla="*/ 0 w 6053933"/>
              <a:gd name="connsiteY3" fmla="*/ 5182329 h 5182329"/>
              <a:gd name="connsiteX0" fmla="*/ 0 w 6025167"/>
              <a:gd name="connsiteY0" fmla="*/ 5182329 h 5182329"/>
              <a:gd name="connsiteX1" fmla="*/ 2869075 w 6025167"/>
              <a:gd name="connsiteY1" fmla="*/ 0 h 5182329"/>
              <a:gd name="connsiteX2" fmla="*/ 6025167 w 6025167"/>
              <a:gd name="connsiteY2" fmla="*/ 1905745 h 5182329"/>
              <a:gd name="connsiteX3" fmla="*/ 0 w 6025167"/>
              <a:gd name="connsiteY3" fmla="*/ 5182329 h 5182329"/>
              <a:gd name="connsiteX0" fmla="*/ 0 w 6053933"/>
              <a:gd name="connsiteY0" fmla="*/ 5182329 h 5182329"/>
              <a:gd name="connsiteX1" fmla="*/ 2869075 w 6053933"/>
              <a:gd name="connsiteY1" fmla="*/ 0 h 5182329"/>
              <a:gd name="connsiteX2" fmla="*/ 6053933 w 6053933"/>
              <a:gd name="connsiteY2" fmla="*/ 1905745 h 5182329"/>
              <a:gd name="connsiteX3" fmla="*/ 0 w 6053933"/>
              <a:gd name="connsiteY3" fmla="*/ 5182329 h 5182329"/>
              <a:gd name="connsiteX0" fmla="*/ 0 w 6063522"/>
              <a:gd name="connsiteY0" fmla="*/ 5191860 h 5191860"/>
              <a:gd name="connsiteX1" fmla="*/ 2878664 w 6063522"/>
              <a:gd name="connsiteY1" fmla="*/ 0 h 5191860"/>
              <a:gd name="connsiteX2" fmla="*/ 6063522 w 6063522"/>
              <a:gd name="connsiteY2" fmla="*/ 1905745 h 5191860"/>
              <a:gd name="connsiteX3" fmla="*/ 0 w 6063522"/>
              <a:gd name="connsiteY3" fmla="*/ 5191860 h 5191860"/>
              <a:gd name="connsiteX0" fmla="*/ 0 w 6073111"/>
              <a:gd name="connsiteY0" fmla="*/ 5191860 h 5191860"/>
              <a:gd name="connsiteX1" fmla="*/ 2878664 w 6073111"/>
              <a:gd name="connsiteY1" fmla="*/ 0 h 5191860"/>
              <a:gd name="connsiteX2" fmla="*/ 6073111 w 6073111"/>
              <a:gd name="connsiteY2" fmla="*/ 1915276 h 5191860"/>
              <a:gd name="connsiteX3" fmla="*/ 0 w 6073111"/>
              <a:gd name="connsiteY3" fmla="*/ 5191860 h 5191860"/>
              <a:gd name="connsiteX0" fmla="*/ 0 w 6073111"/>
              <a:gd name="connsiteY0" fmla="*/ 5201391 h 5201391"/>
              <a:gd name="connsiteX1" fmla="*/ 2888253 w 6073111"/>
              <a:gd name="connsiteY1" fmla="*/ 0 h 5201391"/>
              <a:gd name="connsiteX2" fmla="*/ 6073111 w 6073111"/>
              <a:gd name="connsiteY2" fmla="*/ 1924807 h 5201391"/>
              <a:gd name="connsiteX3" fmla="*/ 0 w 6073111"/>
              <a:gd name="connsiteY3" fmla="*/ 5201391 h 5201391"/>
              <a:gd name="connsiteX0" fmla="*/ 0 w 6073111"/>
              <a:gd name="connsiteY0" fmla="*/ 5201391 h 5201391"/>
              <a:gd name="connsiteX1" fmla="*/ 2888253 w 6073111"/>
              <a:gd name="connsiteY1" fmla="*/ 0 h 5201391"/>
              <a:gd name="connsiteX2" fmla="*/ 6073111 w 6073111"/>
              <a:gd name="connsiteY2" fmla="*/ 1739869 h 5201391"/>
              <a:gd name="connsiteX3" fmla="*/ 0 w 6073111"/>
              <a:gd name="connsiteY3" fmla="*/ 5201391 h 5201391"/>
              <a:gd name="connsiteX0" fmla="*/ 0 w 6073111"/>
              <a:gd name="connsiteY0" fmla="*/ 5201391 h 5201391"/>
              <a:gd name="connsiteX1" fmla="*/ 2973730 w 6073111"/>
              <a:gd name="connsiteY1" fmla="*/ 0 h 5201391"/>
              <a:gd name="connsiteX2" fmla="*/ 6073111 w 6073111"/>
              <a:gd name="connsiteY2" fmla="*/ 1739869 h 5201391"/>
              <a:gd name="connsiteX3" fmla="*/ 0 w 6073111"/>
              <a:gd name="connsiteY3" fmla="*/ 5201391 h 5201391"/>
              <a:gd name="connsiteX0" fmla="*/ 0 w 6112562"/>
              <a:gd name="connsiteY0" fmla="*/ 5201391 h 5201391"/>
              <a:gd name="connsiteX1" fmla="*/ 3013181 w 6112562"/>
              <a:gd name="connsiteY1" fmla="*/ 0 h 5201391"/>
              <a:gd name="connsiteX2" fmla="*/ 6112562 w 6112562"/>
              <a:gd name="connsiteY2" fmla="*/ 1739869 h 5201391"/>
              <a:gd name="connsiteX3" fmla="*/ 0 w 6112562"/>
              <a:gd name="connsiteY3" fmla="*/ 5201391 h 5201391"/>
              <a:gd name="connsiteX0" fmla="*/ 0 w 6138863"/>
              <a:gd name="connsiteY0" fmla="*/ 5214602 h 5214602"/>
              <a:gd name="connsiteX1" fmla="*/ 3039482 w 6138863"/>
              <a:gd name="connsiteY1" fmla="*/ 0 h 5214602"/>
              <a:gd name="connsiteX2" fmla="*/ 6138863 w 6138863"/>
              <a:gd name="connsiteY2" fmla="*/ 1739869 h 5214602"/>
              <a:gd name="connsiteX3" fmla="*/ 0 w 6138863"/>
              <a:gd name="connsiteY3" fmla="*/ 5214602 h 5214602"/>
            </a:gdLst>
            <a:ahLst/>
            <a:cxnLst>
              <a:cxn ang="0">
                <a:pos x="connsiteX0" y="connsiteY0"/>
              </a:cxn>
              <a:cxn ang="0">
                <a:pos x="connsiteX1" y="connsiteY1"/>
              </a:cxn>
              <a:cxn ang="0">
                <a:pos x="connsiteX2" y="connsiteY2"/>
              </a:cxn>
              <a:cxn ang="0">
                <a:pos x="connsiteX3" y="connsiteY3"/>
              </a:cxn>
            </a:cxnLst>
            <a:rect l="l" t="t" r="r" b="b"/>
            <a:pathLst>
              <a:path w="6138863" h="5214602">
                <a:moveTo>
                  <a:pt x="0" y="5214602"/>
                </a:moveTo>
                <a:lnTo>
                  <a:pt x="3039482" y="0"/>
                </a:lnTo>
                <a:lnTo>
                  <a:pt x="6138863" y="1739869"/>
                </a:lnTo>
                <a:lnTo>
                  <a:pt x="0" y="5214602"/>
                </a:lnTo>
                <a:close/>
              </a:path>
            </a:pathLst>
          </a:custGeom>
          <a:gradFill flip="none" rotWithShape="1">
            <a:gsLst>
              <a:gs pos="52000">
                <a:schemeClr val="accent2"/>
              </a:gs>
              <a:gs pos="100000">
                <a:schemeClr val="accent1"/>
              </a:gs>
              <a:gs pos="20000">
                <a:schemeClr val="accent3"/>
              </a:gs>
            </a:gsLst>
            <a:lin ang="7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5593" y="1652428"/>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pic>
        <p:nvPicPr>
          <p:cNvPr id="38" name="Picture 3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
        <p:nvSpPr>
          <p:cNvPr id="22"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spTree>
    <p:extLst>
      <p:ext uri="{BB962C8B-B14F-4D97-AF65-F5344CB8AC3E}">
        <p14:creationId xmlns:p14="http://schemas.microsoft.com/office/powerpoint/2010/main" val="2922153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ver_4 line/subhead">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a:t>Two line title</a:t>
            </a:r>
            <a:br>
              <a:rPr lang="en-US"/>
            </a:br>
            <a:r>
              <a:rPr lang="en-US"/>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677055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ver_4 lin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sp>
        <p:nvSpPr>
          <p:cNvPr id="10" name="Freeform 9"/>
          <p:cNvSpPr/>
          <p:nvPr userDrawn="1"/>
        </p:nvSpPr>
        <p:spPr>
          <a:xfrm flipH="1" flipV="1">
            <a:off x="-8709" y="-8709"/>
            <a:ext cx="8136266" cy="6875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0 w 6075372"/>
              <a:gd name="connsiteY0" fmla="*/ 5175181 h 5175181"/>
              <a:gd name="connsiteX1" fmla="*/ 2883458 w 6075372"/>
              <a:gd name="connsiteY1" fmla="*/ 0 h 5175181"/>
              <a:gd name="connsiteX2" fmla="*/ 6075372 w 6075372"/>
              <a:gd name="connsiteY2" fmla="*/ 1769932 h 5175181"/>
              <a:gd name="connsiteX3" fmla="*/ 0 w 6075372"/>
              <a:gd name="connsiteY3" fmla="*/ 5175181 h 5175181"/>
              <a:gd name="connsiteX0" fmla="*/ 0 w 3202595"/>
              <a:gd name="connsiteY0" fmla="*/ 5189477 h 5189477"/>
              <a:gd name="connsiteX1" fmla="*/ 10681 w 3202595"/>
              <a:gd name="connsiteY1" fmla="*/ 0 h 5189477"/>
              <a:gd name="connsiteX2" fmla="*/ 3202595 w 3202595"/>
              <a:gd name="connsiteY2" fmla="*/ 1769932 h 5189477"/>
              <a:gd name="connsiteX3" fmla="*/ 0 w 3202595"/>
              <a:gd name="connsiteY3" fmla="*/ 5189477 h 5189477"/>
              <a:gd name="connsiteX0" fmla="*/ 2962146 w 6164741"/>
              <a:gd name="connsiteY0" fmla="*/ 5403918 h 5403918"/>
              <a:gd name="connsiteX1" fmla="*/ 3 w 6164741"/>
              <a:gd name="connsiteY1" fmla="*/ 0 h 5403918"/>
              <a:gd name="connsiteX2" fmla="*/ 6164741 w 6164741"/>
              <a:gd name="connsiteY2" fmla="*/ 1984373 h 5403918"/>
              <a:gd name="connsiteX3" fmla="*/ 2962146 w 6164741"/>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962143 w 6164738"/>
              <a:gd name="connsiteY0" fmla="*/ 5403918 h 5403918"/>
              <a:gd name="connsiteX1" fmla="*/ 0 w 6164738"/>
              <a:gd name="connsiteY1" fmla="*/ 0 h 5403918"/>
              <a:gd name="connsiteX2" fmla="*/ 6164738 w 6164738"/>
              <a:gd name="connsiteY2" fmla="*/ 1984373 h 5403918"/>
              <a:gd name="connsiteX3" fmla="*/ 2962143 w 6164738"/>
              <a:gd name="connsiteY3" fmla="*/ 5403918 h 5403918"/>
              <a:gd name="connsiteX0" fmla="*/ 2819219 w 6021814"/>
              <a:gd name="connsiteY0" fmla="*/ 5189477 h 5189477"/>
              <a:gd name="connsiteX1" fmla="*/ 0 w 6021814"/>
              <a:gd name="connsiteY1" fmla="*/ 0 h 5189477"/>
              <a:gd name="connsiteX2" fmla="*/ 6021814 w 6021814"/>
              <a:gd name="connsiteY2" fmla="*/ 1769932 h 5189477"/>
              <a:gd name="connsiteX3" fmla="*/ 2819219 w 6021814"/>
              <a:gd name="connsiteY3" fmla="*/ 5189477 h 5189477"/>
              <a:gd name="connsiteX0" fmla="*/ 2819219 w 6007522"/>
              <a:gd name="connsiteY0" fmla="*/ 5189477 h 5189477"/>
              <a:gd name="connsiteX1" fmla="*/ 0 w 6007522"/>
              <a:gd name="connsiteY1" fmla="*/ 0 h 5189477"/>
              <a:gd name="connsiteX2" fmla="*/ 6007522 w 6007522"/>
              <a:gd name="connsiteY2" fmla="*/ 3299613 h 5189477"/>
              <a:gd name="connsiteX3" fmla="*/ 2819219 w 6007522"/>
              <a:gd name="connsiteY3" fmla="*/ 5189477 h 5189477"/>
              <a:gd name="connsiteX0" fmla="*/ 2819219 w 6021814"/>
              <a:gd name="connsiteY0" fmla="*/ 5189477 h 5189477"/>
              <a:gd name="connsiteX1" fmla="*/ 0 w 6021814"/>
              <a:gd name="connsiteY1" fmla="*/ 0 h 5189477"/>
              <a:gd name="connsiteX2" fmla="*/ 6021814 w 6021814"/>
              <a:gd name="connsiteY2" fmla="*/ 3385390 h 5189477"/>
              <a:gd name="connsiteX3" fmla="*/ 2819219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6021814"/>
              <a:gd name="connsiteY0" fmla="*/ 5189477 h 5189477"/>
              <a:gd name="connsiteX1" fmla="*/ 0 w 6021814"/>
              <a:gd name="connsiteY1" fmla="*/ 0 h 5189477"/>
              <a:gd name="connsiteX2" fmla="*/ 6021814 w 6021814"/>
              <a:gd name="connsiteY2" fmla="*/ 3385390 h 5189477"/>
              <a:gd name="connsiteX3" fmla="*/ 2862096 w 6021814"/>
              <a:gd name="connsiteY3" fmla="*/ 5189477 h 5189477"/>
              <a:gd name="connsiteX0" fmla="*/ 2862096 w 5993229"/>
              <a:gd name="connsiteY0" fmla="*/ 5189477 h 5189477"/>
              <a:gd name="connsiteX1" fmla="*/ 0 w 5993229"/>
              <a:gd name="connsiteY1" fmla="*/ 0 h 5189477"/>
              <a:gd name="connsiteX2" fmla="*/ 5993229 w 5993229"/>
              <a:gd name="connsiteY2" fmla="*/ 3394921 h 5189477"/>
              <a:gd name="connsiteX3" fmla="*/ 2862096 w 5993229"/>
              <a:gd name="connsiteY3" fmla="*/ 5189477 h 5189477"/>
              <a:gd name="connsiteX0" fmla="*/ 2940500 w 5993229"/>
              <a:gd name="connsiteY0" fmla="*/ 5196067 h 5196067"/>
              <a:gd name="connsiteX1" fmla="*/ 0 w 5993229"/>
              <a:gd name="connsiteY1" fmla="*/ 0 h 5196067"/>
              <a:gd name="connsiteX2" fmla="*/ 5993229 w 5993229"/>
              <a:gd name="connsiteY2" fmla="*/ 3394921 h 5196067"/>
              <a:gd name="connsiteX3" fmla="*/ 2940500 w 5993229"/>
              <a:gd name="connsiteY3" fmla="*/ 5196067 h 5196067"/>
              <a:gd name="connsiteX0" fmla="*/ 2940500 w 5999763"/>
              <a:gd name="connsiteY0" fmla="*/ 5196067 h 5196067"/>
              <a:gd name="connsiteX1" fmla="*/ 0 w 5999763"/>
              <a:gd name="connsiteY1" fmla="*/ 0 h 5196067"/>
              <a:gd name="connsiteX2" fmla="*/ 5999763 w 5999763"/>
              <a:gd name="connsiteY2" fmla="*/ 3467409 h 5196067"/>
              <a:gd name="connsiteX3" fmla="*/ 2940500 w 5999763"/>
              <a:gd name="connsiteY3" fmla="*/ 5196067 h 5196067"/>
              <a:gd name="connsiteX0" fmla="*/ 3045039 w 6104302"/>
              <a:gd name="connsiteY0" fmla="*/ 5202656 h 5202656"/>
              <a:gd name="connsiteX1" fmla="*/ 0 w 6104302"/>
              <a:gd name="connsiteY1" fmla="*/ 0 h 5202656"/>
              <a:gd name="connsiteX2" fmla="*/ 6104302 w 6104302"/>
              <a:gd name="connsiteY2" fmla="*/ 3473998 h 5202656"/>
              <a:gd name="connsiteX3" fmla="*/ 3045039 w 6104302"/>
              <a:gd name="connsiteY3" fmla="*/ 5202656 h 5202656"/>
            </a:gdLst>
            <a:ahLst/>
            <a:cxnLst>
              <a:cxn ang="0">
                <a:pos x="connsiteX0" y="connsiteY0"/>
              </a:cxn>
              <a:cxn ang="0">
                <a:pos x="connsiteX1" y="connsiteY1"/>
              </a:cxn>
              <a:cxn ang="0">
                <a:pos x="connsiteX2" y="connsiteY2"/>
              </a:cxn>
              <a:cxn ang="0">
                <a:pos x="connsiteX3" y="connsiteY3"/>
              </a:cxn>
            </a:cxnLst>
            <a:rect l="l" t="t" r="r" b="b"/>
            <a:pathLst>
              <a:path w="6104302" h="5202656">
                <a:moveTo>
                  <a:pt x="3045039" y="5202656"/>
                </a:moveTo>
                <a:cubicBezTo>
                  <a:pt x="3034307" y="5174064"/>
                  <a:pt x="10732" y="42888"/>
                  <a:pt x="0" y="0"/>
                </a:cubicBezTo>
                <a:lnTo>
                  <a:pt x="6104302" y="3473998"/>
                </a:lnTo>
                <a:lnTo>
                  <a:pt x="3045039" y="5202656"/>
                </a:lnTo>
                <a:close/>
              </a:path>
            </a:pathLst>
          </a:custGeom>
          <a:gradFill flip="none" rotWithShape="1">
            <a:gsLst>
              <a:gs pos="22000">
                <a:schemeClr val="accent3"/>
              </a:gs>
              <a:gs pos="51000">
                <a:schemeClr val="accent2"/>
              </a:gs>
              <a:gs pos="98374">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127045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ver_5 line/subhead">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67524"/>
          </a:xfrm>
          <a:prstGeom prst="rect">
            <a:avLst/>
          </a:prstGeom>
        </p:spPr>
      </p:pic>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grpSp>
        <p:nvGrpSpPr>
          <p:cNvPr id="31" name="Group 30"/>
          <p:cNvGrpSpPr/>
          <p:nvPr userDrawn="1"/>
        </p:nvGrpSpPr>
        <p:grpSpPr>
          <a:xfrm>
            <a:off x="6095262" y="0"/>
            <a:ext cx="6101116" cy="6858864"/>
            <a:chOff x="6095262" y="0"/>
            <a:chExt cx="6101116" cy="6858864"/>
          </a:xfrm>
        </p:grpSpPr>
        <p:sp>
          <p:nvSpPr>
            <p:cNvPr id="8" name="Freeform 7"/>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33" name="Freeform 32"/>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1"/>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5" name="Freeform 3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1"/>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1"/>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8" y="5204499"/>
            <a:ext cx="1978025"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
        <p:nvSpPr>
          <p:cNvPr id="6" name="Text Placeholder 5"/>
          <p:cNvSpPr>
            <a:spLocks noGrp="1"/>
          </p:cNvSpPr>
          <p:nvPr>
            <p:ph type="body" sz="quarter" idx="12" hasCustomPrompt="1"/>
          </p:nvPr>
        </p:nvSpPr>
        <p:spPr>
          <a:xfrm>
            <a:off x="384048" y="3895344"/>
            <a:ext cx="9514682" cy="864848"/>
          </a:xfrm>
          <a:prstGeom prst="rect">
            <a:avLst/>
          </a:prstGeom>
        </p:spPr>
        <p:txBody>
          <a:bodyPr lIns="0" tIns="0" rIns="0" bIns="0"/>
          <a:lstStyle>
            <a:lvl1pPr>
              <a:lnSpc>
                <a:spcPct val="90000"/>
              </a:lnSpc>
              <a:defRPr sz="2800">
                <a:solidFill>
                  <a:schemeClr val="tx1"/>
                </a:solidFill>
              </a:defRPr>
            </a:lvl1pPr>
          </a:lstStyle>
          <a:p>
            <a:pPr lvl="0"/>
            <a:r>
              <a:rPr lang="en-US" dirty="0"/>
              <a:t>Title subhead/presenters names, </a:t>
            </a:r>
            <a:br>
              <a:rPr lang="en-US" dirty="0"/>
            </a:br>
            <a:r>
              <a:rPr lang="en-US" dirty="0"/>
              <a:t>one or two lines</a:t>
            </a:r>
          </a:p>
        </p:txBody>
      </p:sp>
    </p:spTree>
    <p:extLst>
      <p:ext uri="{BB962C8B-B14F-4D97-AF65-F5344CB8AC3E}">
        <p14:creationId xmlns:p14="http://schemas.microsoft.com/office/powerpoint/2010/main" val="89346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over_5 lin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1" cy="6858000"/>
          </a:xfrm>
          <a:prstGeom prst="rect">
            <a:avLst/>
          </a:prstGeom>
        </p:spPr>
      </p:pic>
      <p:pic>
        <p:nvPicPr>
          <p:cNvPr id="34" name="Picture 3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grpSp>
        <p:nvGrpSpPr>
          <p:cNvPr id="22" name="Group 21"/>
          <p:cNvGrpSpPr/>
          <p:nvPr userDrawn="1"/>
        </p:nvGrpSpPr>
        <p:grpSpPr>
          <a:xfrm>
            <a:off x="6095262" y="0"/>
            <a:ext cx="6101116" cy="6858864"/>
            <a:chOff x="6095262" y="0"/>
            <a:chExt cx="6101116" cy="6858864"/>
          </a:xfrm>
        </p:grpSpPr>
        <p:sp>
          <p:nvSpPr>
            <p:cNvPr id="23" name="Freeform 22"/>
            <p:cNvSpPr/>
            <p:nvPr userDrawn="1"/>
          </p:nvSpPr>
          <p:spPr>
            <a:xfrm>
              <a:off x="6105525" y="0"/>
              <a:ext cx="6082158" cy="6858000"/>
            </a:xfrm>
            <a:custGeom>
              <a:avLst/>
              <a:gdLst>
                <a:gd name="connsiteX0" fmla="*/ 6096000 w 6096000"/>
                <a:gd name="connsiteY0" fmla="*/ 0 h 6867525"/>
                <a:gd name="connsiteX1" fmla="*/ 0 w 6096000"/>
                <a:gd name="connsiteY1" fmla="*/ 9525 h 6867525"/>
                <a:gd name="connsiteX2" fmla="*/ 3362325 w 6096000"/>
                <a:gd name="connsiteY2" fmla="*/ 6867525 h 6867525"/>
                <a:gd name="connsiteX3" fmla="*/ 6096000 w 6096000"/>
                <a:gd name="connsiteY3" fmla="*/ 6858000 h 6867525"/>
                <a:gd name="connsiteX4" fmla="*/ 6096000 w 6096000"/>
                <a:gd name="connsiteY4" fmla="*/ 0 h 68675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6000" h="6867525">
                  <a:moveTo>
                    <a:pt x="6096000" y="0"/>
                  </a:moveTo>
                  <a:lnTo>
                    <a:pt x="0" y="9525"/>
                  </a:lnTo>
                  <a:lnTo>
                    <a:pt x="3362325" y="6867525"/>
                  </a:lnTo>
                  <a:lnTo>
                    <a:pt x="6096000" y="6858000"/>
                  </a:lnTo>
                  <a:lnTo>
                    <a:pt x="609600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4" name="Freeform 23"/>
            <p:cNvSpPr/>
            <p:nvPr userDrawn="1"/>
          </p:nvSpPr>
          <p:spPr>
            <a:xfrm flipH="1">
              <a:off x="6099048" y="0"/>
              <a:ext cx="6096736" cy="4569416"/>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2623 w 3395129"/>
                <a:gd name="connsiteY0" fmla="*/ 652 h 3446751"/>
                <a:gd name="connsiteX1" fmla="*/ 0 w 3395129"/>
                <a:gd name="connsiteY1" fmla="*/ 3446751 h 3446751"/>
                <a:gd name="connsiteX2" fmla="*/ 3395129 w 3395129"/>
                <a:gd name="connsiteY2" fmla="*/ 0 h 3446751"/>
                <a:gd name="connsiteX3" fmla="*/ 2623 w 3395129"/>
                <a:gd name="connsiteY3" fmla="*/ 652 h 3446751"/>
              </a:gdLst>
              <a:ahLst/>
              <a:cxnLst>
                <a:cxn ang="0">
                  <a:pos x="connsiteX0" y="connsiteY0"/>
                </a:cxn>
                <a:cxn ang="0">
                  <a:pos x="connsiteX1" y="connsiteY1"/>
                </a:cxn>
                <a:cxn ang="0">
                  <a:pos x="connsiteX2" y="connsiteY2"/>
                </a:cxn>
                <a:cxn ang="0">
                  <a:pos x="connsiteX3" y="connsiteY3"/>
                </a:cxn>
              </a:cxnLst>
              <a:rect l="l" t="t" r="r" b="b"/>
              <a:pathLst>
                <a:path w="3395129" h="3446751">
                  <a:moveTo>
                    <a:pt x="2623" y="652"/>
                  </a:moveTo>
                  <a:cubicBezTo>
                    <a:pt x="1749" y="1149352"/>
                    <a:pt x="874" y="2298051"/>
                    <a:pt x="0" y="3446751"/>
                  </a:cubicBezTo>
                  <a:lnTo>
                    <a:pt x="3395129" y="0"/>
                  </a:lnTo>
                  <a:lnTo>
                    <a:pt x="2623" y="652"/>
                  </a:lnTo>
                  <a:close/>
                </a:path>
              </a:pathLst>
            </a:custGeom>
            <a:gradFill flip="none" rotWithShape="1">
              <a:gsLst>
                <a:gs pos="1000">
                  <a:schemeClr val="accent2"/>
                </a:gs>
                <a:gs pos="100000">
                  <a:schemeClr val="accent3"/>
                </a:gs>
              </a:gsLst>
              <a:lin ang="120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5" name="Freeform 24"/>
            <p:cNvSpPr/>
            <p:nvPr userDrawn="1"/>
          </p:nvSpPr>
          <p:spPr>
            <a:xfrm flipH="1">
              <a:off x="9451181" y="4569416"/>
              <a:ext cx="2745197" cy="2289448"/>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 name="connsiteX0" fmla="*/ 1529836 w 1529836"/>
                <a:gd name="connsiteY0" fmla="*/ 1726951 h 1726951"/>
                <a:gd name="connsiteX1" fmla="*/ 4894 w 1529836"/>
                <a:gd name="connsiteY1" fmla="*/ 0 h 1726951"/>
                <a:gd name="connsiteX2" fmla="*/ 0 w 1529836"/>
                <a:gd name="connsiteY2" fmla="*/ 1719114 h 1726951"/>
                <a:gd name="connsiteX3" fmla="*/ 1529836 w 1529836"/>
                <a:gd name="connsiteY3" fmla="*/ 1726951 h 1726951"/>
                <a:gd name="connsiteX0" fmla="*/ 1524956 w 1524956"/>
                <a:gd name="connsiteY0" fmla="*/ 1726951 h 1726951"/>
                <a:gd name="connsiteX1" fmla="*/ 14 w 1524956"/>
                <a:gd name="connsiteY1" fmla="*/ 0 h 1726951"/>
                <a:gd name="connsiteX2" fmla="*/ 139661 w 1524956"/>
                <a:gd name="connsiteY2" fmla="*/ 1496385 h 1726951"/>
                <a:gd name="connsiteX3" fmla="*/ 1524956 w 1524956"/>
                <a:gd name="connsiteY3" fmla="*/ 1726951 h 1726951"/>
                <a:gd name="connsiteX0" fmla="*/ 1525273 w 1525273"/>
                <a:gd name="connsiteY0" fmla="*/ 1726951 h 1726951"/>
                <a:gd name="connsiteX1" fmla="*/ 331 w 1525273"/>
                <a:gd name="connsiteY1" fmla="*/ 0 h 1726951"/>
                <a:gd name="connsiteX2" fmla="*/ 2068 w 1525273"/>
                <a:gd name="connsiteY2" fmla="*/ 1726299 h 1726951"/>
                <a:gd name="connsiteX3" fmla="*/ 1525273 w 1525273"/>
                <a:gd name="connsiteY3" fmla="*/ 1726951 h 1726951"/>
              </a:gdLst>
              <a:ahLst/>
              <a:cxnLst>
                <a:cxn ang="0">
                  <a:pos x="connsiteX0" y="connsiteY0"/>
                </a:cxn>
                <a:cxn ang="0">
                  <a:pos x="connsiteX1" y="connsiteY1"/>
                </a:cxn>
                <a:cxn ang="0">
                  <a:pos x="connsiteX2" y="connsiteY2"/>
                </a:cxn>
                <a:cxn ang="0">
                  <a:pos x="connsiteX3" y="connsiteY3"/>
                </a:cxn>
              </a:cxnLst>
              <a:rect l="l" t="t" r="r" b="b"/>
              <a:pathLst>
                <a:path w="1525273" h="1726951">
                  <a:moveTo>
                    <a:pt x="1525273" y="1726951"/>
                  </a:moveTo>
                  <a:lnTo>
                    <a:pt x="331" y="0"/>
                  </a:lnTo>
                  <a:cubicBezTo>
                    <a:pt x="-1300" y="573038"/>
                    <a:pt x="3699" y="1153261"/>
                    <a:pt x="2068" y="1726299"/>
                  </a:cubicBezTo>
                  <a:lnTo>
                    <a:pt x="1525273" y="1726951"/>
                  </a:lnTo>
                  <a:close/>
                </a:path>
              </a:pathLst>
            </a:custGeom>
            <a:gradFill flip="none" rotWithShape="1">
              <a:gsLst>
                <a:gs pos="100000">
                  <a:schemeClr val="accent2"/>
                </a:gs>
                <a:gs pos="0">
                  <a:schemeClr val="accent3"/>
                </a:gs>
              </a:gsLst>
              <a:lin ang="13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6" name="Freeform 25"/>
            <p:cNvSpPr/>
            <p:nvPr userDrawn="1"/>
          </p:nvSpPr>
          <p:spPr>
            <a:xfrm flipH="1">
              <a:off x="6095262" y="0"/>
              <a:ext cx="6100521" cy="6858864"/>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 name="connsiteX0" fmla="*/ 1498773 w 9178997"/>
                <a:gd name="connsiteY0" fmla="*/ 5154183 h 5154183"/>
                <a:gd name="connsiteX1" fmla="*/ 0 w 9178997"/>
                <a:gd name="connsiteY1" fmla="*/ 0 h 5154183"/>
                <a:gd name="connsiteX2" fmla="*/ 9178997 w 9178997"/>
                <a:gd name="connsiteY2" fmla="*/ 1698542 h 5154183"/>
                <a:gd name="connsiteX3" fmla="*/ 1498773 w 9178997"/>
                <a:gd name="connsiteY3" fmla="*/ 5154183 h 5154183"/>
                <a:gd name="connsiteX0" fmla="*/ 1498773 w 3368960"/>
                <a:gd name="connsiteY0" fmla="*/ 5173702 h 5173702"/>
                <a:gd name="connsiteX1" fmla="*/ 0 w 3368960"/>
                <a:gd name="connsiteY1" fmla="*/ 19519 h 5173702"/>
                <a:gd name="connsiteX2" fmla="*/ 3368960 w 3368960"/>
                <a:gd name="connsiteY2" fmla="*/ 0 h 5173702"/>
                <a:gd name="connsiteX3" fmla="*/ 1498773 w 3368960"/>
                <a:gd name="connsiteY3" fmla="*/ 5173702 h 5173702"/>
                <a:gd name="connsiteX0" fmla="*/ 1513119 w 3383306"/>
                <a:gd name="connsiteY0" fmla="*/ 5173702 h 5173702"/>
                <a:gd name="connsiteX1" fmla="*/ 0 w 3383306"/>
                <a:gd name="connsiteY1" fmla="*/ 1730421 h 5173702"/>
                <a:gd name="connsiteX2" fmla="*/ 3383306 w 3383306"/>
                <a:gd name="connsiteY2" fmla="*/ 0 h 5173702"/>
                <a:gd name="connsiteX3" fmla="*/ 1513119 w 3383306"/>
                <a:gd name="connsiteY3" fmla="*/ 5173702 h 5173702"/>
                <a:gd name="connsiteX0" fmla="*/ 1524942 w 3395129"/>
                <a:gd name="connsiteY0" fmla="*/ 5173702 h 5173702"/>
                <a:gd name="connsiteX1" fmla="*/ 0 w 3395129"/>
                <a:gd name="connsiteY1" fmla="*/ 3446751 h 5173702"/>
                <a:gd name="connsiteX2" fmla="*/ 3395129 w 3395129"/>
                <a:gd name="connsiteY2" fmla="*/ 0 h 5173702"/>
                <a:gd name="connsiteX3" fmla="*/ 1524942 w 3395129"/>
                <a:gd name="connsiteY3" fmla="*/ 5173702 h 5173702"/>
              </a:gdLst>
              <a:ahLst/>
              <a:cxnLst>
                <a:cxn ang="0">
                  <a:pos x="connsiteX0" y="connsiteY0"/>
                </a:cxn>
                <a:cxn ang="0">
                  <a:pos x="connsiteX1" y="connsiteY1"/>
                </a:cxn>
                <a:cxn ang="0">
                  <a:pos x="connsiteX2" y="connsiteY2"/>
                </a:cxn>
                <a:cxn ang="0">
                  <a:pos x="connsiteX3" y="connsiteY3"/>
                </a:cxn>
              </a:cxnLst>
              <a:rect l="l" t="t" r="r" b="b"/>
              <a:pathLst>
                <a:path w="3395129" h="5173702">
                  <a:moveTo>
                    <a:pt x="1524942" y="5173702"/>
                  </a:moveTo>
                  <a:lnTo>
                    <a:pt x="0" y="3446751"/>
                  </a:lnTo>
                  <a:lnTo>
                    <a:pt x="3395129" y="0"/>
                  </a:lnTo>
                  <a:lnTo>
                    <a:pt x="1524942" y="5173702"/>
                  </a:lnTo>
                  <a:close/>
                </a:path>
              </a:pathLst>
            </a:custGeom>
            <a:gradFill flip="none" rotWithShape="1">
              <a:gsLst>
                <a:gs pos="1000">
                  <a:schemeClr val="accent2"/>
                </a:gs>
                <a:gs pos="100000">
                  <a:schemeClr val="accent3"/>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2" name="Title 1"/>
          <p:cNvSpPr>
            <a:spLocks noGrp="1"/>
          </p:cNvSpPr>
          <p:nvPr>
            <p:ph type="ctrTitle" hasCustomPrompt="1"/>
          </p:nvPr>
        </p:nvSpPr>
        <p:spPr>
          <a:xfrm>
            <a:off x="383035" y="1655791"/>
            <a:ext cx="11468909" cy="1994392"/>
          </a:xfrm>
          <a:prstGeom prst="rect">
            <a:avLst/>
          </a:prstGeom>
        </p:spPr>
        <p:txBody>
          <a:bodyPr vert="horz" wrap="square" lIns="0" tIns="0" rIns="0" bIns="0" anchor="t" anchorCtr="0">
            <a:noAutofit/>
          </a:bodyPr>
          <a:lstStyle>
            <a:lvl1pPr algn="l">
              <a:lnSpc>
                <a:spcPct val="80000"/>
              </a:lnSpc>
              <a:defRPr sz="7200" b="0">
                <a:solidFill>
                  <a:schemeClr val="tx1"/>
                </a:solidFill>
                <a:latin typeface="3M Circular TT Bold" panose="020B0804020101010102" pitchFamily="34" charset="0"/>
                <a:cs typeface="3M Circular TT Bold" panose="020B0804020101010102" pitchFamily="34" charset="0"/>
              </a:defRPr>
            </a:lvl1pPr>
          </a:lstStyle>
          <a:p>
            <a:r>
              <a:rPr lang="en-US" dirty="0"/>
              <a:t>Two line title</a:t>
            </a:r>
            <a:br>
              <a:rPr lang="en-US" dirty="0"/>
            </a:br>
            <a:r>
              <a:rPr lang="en-US" dirty="0"/>
              <a:t>goes here</a:t>
            </a:r>
            <a:endParaRPr lang="en-GB" dirty="0"/>
          </a:p>
        </p:txBody>
      </p:sp>
      <p:sp>
        <p:nvSpPr>
          <p:cNvPr id="4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tx1"/>
                </a:solidFill>
                <a:latin typeface="3M Circular TT Book" panose="020B0604020101020102" pitchFamily="34" charset="0"/>
                <a:cs typeface="3M Circular TT Book" panose="020B0604020101020102" pitchFamily="34" charset="0"/>
              </a:defRPr>
            </a:lvl1pPr>
            <a:lvl5pPr>
              <a:defRPr/>
            </a:lvl5pPr>
          </a:lstStyle>
          <a:p>
            <a:pPr lvl="0"/>
            <a:r>
              <a:rPr lang="en-US"/>
              <a:t>Date</a:t>
            </a:r>
          </a:p>
        </p:txBody>
      </p:sp>
    </p:spTree>
    <p:extLst>
      <p:ext uri="{BB962C8B-B14F-4D97-AF65-F5344CB8AC3E}">
        <p14:creationId xmlns:p14="http://schemas.microsoft.com/office/powerpoint/2010/main" val="999694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ver_1 REVERSED line/subhead">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19" name="Freeform 18"/>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4048" y="2282634"/>
            <a:ext cx="9521825" cy="1051116"/>
          </a:xfrm>
          <a:prstGeom prst="rect">
            <a:avLst/>
          </a:prstGeom>
        </p:spPr>
        <p:txBody>
          <a:bodyPr vert="horz" wrap="square" lIns="0" tIns="0" rIns="0" bIns="0" anchor="t" anchorCtr="0">
            <a:noAutofit/>
          </a:bodyPr>
          <a:lstStyle>
            <a:lvl1pPr algn="l">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sp>
        <p:nvSpPr>
          <p:cNvPr id="34" name="Text Placeholder 5"/>
          <p:cNvSpPr>
            <a:spLocks noGrp="1"/>
          </p:cNvSpPr>
          <p:nvPr>
            <p:ph type="body" sz="quarter" idx="13" hasCustomPrompt="1"/>
          </p:nvPr>
        </p:nvSpPr>
        <p:spPr>
          <a:xfrm>
            <a:off x="384048" y="3892296"/>
            <a:ext cx="9472598" cy="864848"/>
          </a:xfrm>
          <a:prstGeom prst="rect">
            <a:avLst/>
          </a:prstGeom>
        </p:spPr>
        <p:txBody>
          <a:bodyPr lIns="0" tIns="0" rIns="0" bIns="0"/>
          <a:lstStyle>
            <a:lvl1pPr>
              <a:lnSpc>
                <a:spcPct val="90000"/>
              </a:lnSpc>
              <a:defRPr sz="2800">
                <a:solidFill>
                  <a:schemeClr val="bg1"/>
                </a:solidFill>
              </a:defRPr>
            </a:lvl1pPr>
          </a:lstStyle>
          <a:p>
            <a:pPr lvl="0"/>
            <a:r>
              <a:rPr lang="en-US" dirty="0"/>
              <a:t>Title subhead/presenters names, </a:t>
            </a:r>
            <a:br>
              <a:rPr lang="en-US" dirty="0"/>
            </a:br>
            <a:r>
              <a:rPr lang="en-US" dirty="0"/>
              <a:t>one or two lines</a:t>
            </a:r>
          </a:p>
        </p:txBody>
      </p:sp>
      <p:sp>
        <p:nvSpPr>
          <p:cNvPr id="13" name="Text Placeholder 7"/>
          <p:cNvSpPr>
            <a:spLocks noGrp="1"/>
          </p:cNvSpPr>
          <p:nvPr>
            <p:ph type="body" sz="quarter" idx="10" hasCustomPrompt="1"/>
          </p:nvPr>
        </p:nvSpPr>
        <p:spPr>
          <a:xfrm>
            <a:off x="384048" y="5204499"/>
            <a:ext cx="4449209"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9346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ver_1 REVERSED line">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duotone>
              <a:prstClr val="black"/>
              <a:schemeClr val="tx2">
                <a:tint val="45000"/>
                <a:satMod val="400000"/>
              </a:schemeClr>
            </a:duotone>
            <a:extLst>
              <a:ext uri="{28A0092B-C50C-407E-A947-70E740481C1C}">
                <a14:useLocalDpi xmlns:a14="http://schemas.microsoft.com/office/drawing/2010/main"/>
              </a:ext>
            </a:extLst>
          </a:blip>
          <a:stretch>
            <a:fillRect/>
          </a:stretch>
        </p:blipFill>
        <p:spPr>
          <a:xfrm>
            <a:off x="-3049" y="0"/>
            <a:ext cx="12192001" cy="6858000"/>
          </a:xfrm>
          <a:prstGeom prst="rect">
            <a:avLst/>
          </a:prstGeom>
        </p:spPr>
      </p:pic>
      <p:sp>
        <p:nvSpPr>
          <p:cNvPr id="8" name="Freeform 7"/>
          <p:cNvSpPr/>
          <p:nvPr userDrawn="1"/>
        </p:nvSpPr>
        <p:spPr>
          <a:xfrm flipH="1" flipV="1">
            <a:off x="-18560" y="0"/>
            <a:ext cx="12188952" cy="6858000"/>
          </a:xfrm>
          <a:custGeom>
            <a:avLst/>
            <a:gdLst>
              <a:gd name="connsiteX0" fmla="*/ 0 w 9162535"/>
              <a:gd name="connsiteY0" fmla="*/ 5146589 h 5146589"/>
              <a:gd name="connsiteX1" fmla="*/ 5999206 w 9162535"/>
              <a:gd name="connsiteY1" fmla="*/ 0 h 5146589"/>
              <a:gd name="connsiteX2" fmla="*/ 9162535 w 9162535"/>
              <a:gd name="connsiteY2" fmla="*/ 3342502 h 5146589"/>
              <a:gd name="connsiteX3" fmla="*/ 0 w 9162535"/>
              <a:gd name="connsiteY3" fmla="*/ 5146589 h 5146589"/>
              <a:gd name="connsiteX0" fmla="*/ 0 w 6061080"/>
              <a:gd name="connsiteY0" fmla="*/ 5160885 h 5160885"/>
              <a:gd name="connsiteX1" fmla="*/ 2897751 w 6061080"/>
              <a:gd name="connsiteY1" fmla="*/ 0 h 5160885"/>
              <a:gd name="connsiteX2" fmla="*/ 6061080 w 6061080"/>
              <a:gd name="connsiteY2" fmla="*/ 3342502 h 5160885"/>
              <a:gd name="connsiteX3" fmla="*/ 0 w 6061080"/>
              <a:gd name="connsiteY3" fmla="*/ 5160885 h 5160885"/>
              <a:gd name="connsiteX0" fmla="*/ 0 w 6075372"/>
              <a:gd name="connsiteY0" fmla="*/ 5160885 h 5160885"/>
              <a:gd name="connsiteX1" fmla="*/ 2897751 w 6075372"/>
              <a:gd name="connsiteY1" fmla="*/ 0 h 5160885"/>
              <a:gd name="connsiteX2" fmla="*/ 6075372 w 6075372"/>
              <a:gd name="connsiteY2" fmla="*/ 1755636 h 5160885"/>
              <a:gd name="connsiteX3" fmla="*/ 0 w 6075372"/>
              <a:gd name="connsiteY3" fmla="*/ 5160885 h 5160885"/>
              <a:gd name="connsiteX0" fmla="*/ 3119359 w 9194731"/>
              <a:gd name="connsiteY0" fmla="*/ 5203773 h 5203773"/>
              <a:gd name="connsiteX1" fmla="*/ 0 w 9194731"/>
              <a:gd name="connsiteY1" fmla="*/ 0 h 5203773"/>
              <a:gd name="connsiteX2" fmla="*/ 9194731 w 9194731"/>
              <a:gd name="connsiteY2" fmla="*/ 1798524 h 5203773"/>
              <a:gd name="connsiteX3" fmla="*/ 3119359 w 9194731"/>
              <a:gd name="connsiteY3" fmla="*/ 5203773 h 5203773"/>
              <a:gd name="connsiteX0" fmla="*/ 3119359 w 9194731"/>
              <a:gd name="connsiteY0" fmla="*/ 5147756 h 5147756"/>
              <a:gd name="connsiteX1" fmla="*/ 0 w 9194731"/>
              <a:gd name="connsiteY1" fmla="*/ 0 h 5147756"/>
              <a:gd name="connsiteX2" fmla="*/ 9194731 w 9194731"/>
              <a:gd name="connsiteY2" fmla="*/ 1742507 h 5147756"/>
              <a:gd name="connsiteX3" fmla="*/ 3119359 w 9194731"/>
              <a:gd name="connsiteY3" fmla="*/ 5147756 h 5147756"/>
              <a:gd name="connsiteX0" fmla="*/ 3151267 w 9226639"/>
              <a:gd name="connsiteY0" fmla="*/ 5163714 h 5163714"/>
              <a:gd name="connsiteX1" fmla="*/ 0 w 9226639"/>
              <a:gd name="connsiteY1" fmla="*/ 0 h 5163714"/>
              <a:gd name="connsiteX2" fmla="*/ 9226639 w 9226639"/>
              <a:gd name="connsiteY2" fmla="*/ 1758465 h 5163714"/>
              <a:gd name="connsiteX3" fmla="*/ 3151267 w 9226639"/>
              <a:gd name="connsiteY3" fmla="*/ 5163714 h 5163714"/>
              <a:gd name="connsiteX0" fmla="*/ 3151267 w 9198054"/>
              <a:gd name="connsiteY0" fmla="*/ 5163714 h 5163714"/>
              <a:gd name="connsiteX1" fmla="*/ 0 w 9198054"/>
              <a:gd name="connsiteY1" fmla="*/ 0 h 5163714"/>
              <a:gd name="connsiteX2" fmla="*/ 9198054 w 9198054"/>
              <a:gd name="connsiteY2" fmla="*/ 1901426 h 5163714"/>
              <a:gd name="connsiteX3" fmla="*/ 3151267 w 9198054"/>
              <a:gd name="connsiteY3" fmla="*/ 5163714 h 5163714"/>
              <a:gd name="connsiteX0" fmla="*/ 3208437 w 9198054"/>
              <a:gd name="connsiteY0" fmla="*/ 5163714 h 5163714"/>
              <a:gd name="connsiteX1" fmla="*/ 0 w 9198054"/>
              <a:gd name="connsiteY1" fmla="*/ 0 h 5163714"/>
              <a:gd name="connsiteX2" fmla="*/ 9198054 w 9198054"/>
              <a:gd name="connsiteY2" fmla="*/ 1901426 h 5163714"/>
              <a:gd name="connsiteX3" fmla="*/ 3208437 w 9198054"/>
              <a:gd name="connsiteY3" fmla="*/ 5163714 h 5163714"/>
              <a:gd name="connsiteX0" fmla="*/ 3160796 w 9198054"/>
              <a:gd name="connsiteY0" fmla="*/ 5154183 h 5154183"/>
              <a:gd name="connsiteX1" fmla="*/ 0 w 9198054"/>
              <a:gd name="connsiteY1" fmla="*/ 0 h 5154183"/>
              <a:gd name="connsiteX2" fmla="*/ 9198054 w 9198054"/>
              <a:gd name="connsiteY2" fmla="*/ 1901426 h 5154183"/>
              <a:gd name="connsiteX3" fmla="*/ 3160796 w 9198054"/>
              <a:gd name="connsiteY3" fmla="*/ 5154183 h 5154183"/>
              <a:gd name="connsiteX0" fmla="*/ 3160796 w 9178997"/>
              <a:gd name="connsiteY0" fmla="*/ 5154183 h 5154183"/>
              <a:gd name="connsiteX1" fmla="*/ 0 w 9178997"/>
              <a:gd name="connsiteY1" fmla="*/ 0 h 5154183"/>
              <a:gd name="connsiteX2" fmla="*/ 9178997 w 9178997"/>
              <a:gd name="connsiteY2" fmla="*/ 1910957 h 5154183"/>
              <a:gd name="connsiteX3" fmla="*/ 3160796 w 9178997"/>
              <a:gd name="connsiteY3" fmla="*/ 5154183 h 5154183"/>
              <a:gd name="connsiteX0" fmla="*/ 3048116 w 9178997"/>
              <a:gd name="connsiteY0" fmla="*/ 5154183 h 5154183"/>
              <a:gd name="connsiteX1" fmla="*/ 0 w 9178997"/>
              <a:gd name="connsiteY1" fmla="*/ 0 h 5154183"/>
              <a:gd name="connsiteX2" fmla="*/ 9178997 w 9178997"/>
              <a:gd name="connsiteY2" fmla="*/ 1910957 h 5154183"/>
              <a:gd name="connsiteX3" fmla="*/ 3048116 w 9178997"/>
              <a:gd name="connsiteY3" fmla="*/ 5154183 h 5154183"/>
              <a:gd name="connsiteX0" fmla="*/ 3048116 w 9178997"/>
              <a:gd name="connsiteY0" fmla="*/ 5154183 h 5154183"/>
              <a:gd name="connsiteX1" fmla="*/ 0 w 9178997"/>
              <a:gd name="connsiteY1" fmla="*/ 0 h 5154183"/>
              <a:gd name="connsiteX2" fmla="*/ 9178997 w 9178997"/>
              <a:gd name="connsiteY2" fmla="*/ 1698542 h 5154183"/>
              <a:gd name="connsiteX3" fmla="*/ 3048116 w 9178997"/>
              <a:gd name="connsiteY3" fmla="*/ 5154183 h 5154183"/>
            </a:gdLst>
            <a:ahLst/>
            <a:cxnLst>
              <a:cxn ang="0">
                <a:pos x="connsiteX0" y="connsiteY0"/>
              </a:cxn>
              <a:cxn ang="0">
                <a:pos x="connsiteX1" y="connsiteY1"/>
              </a:cxn>
              <a:cxn ang="0">
                <a:pos x="connsiteX2" y="connsiteY2"/>
              </a:cxn>
              <a:cxn ang="0">
                <a:pos x="connsiteX3" y="connsiteY3"/>
              </a:cxn>
            </a:cxnLst>
            <a:rect l="l" t="t" r="r" b="b"/>
            <a:pathLst>
              <a:path w="9178997" h="5154183">
                <a:moveTo>
                  <a:pt x="3048116" y="5154183"/>
                </a:moveTo>
                <a:lnTo>
                  <a:pt x="0" y="0"/>
                </a:lnTo>
                <a:lnTo>
                  <a:pt x="9178997" y="1698542"/>
                </a:lnTo>
                <a:lnTo>
                  <a:pt x="3048116" y="5154183"/>
                </a:lnTo>
                <a:close/>
              </a:path>
            </a:pathLst>
          </a:custGeom>
          <a:gradFill flip="none" rotWithShape="1">
            <a:gsLst>
              <a:gs pos="61000">
                <a:schemeClr val="accent2"/>
              </a:gs>
              <a:gs pos="31000">
                <a:schemeClr val="accent3"/>
              </a:gs>
              <a:gs pos="100000">
                <a:schemeClr val="accent1"/>
              </a:gs>
            </a:gsLst>
            <a:lin ang="126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 name="Title 1"/>
          <p:cNvSpPr>
            <a:spLocks noGrp="1"/>
          </p:cNvSpPr>
          <p:nvPr>
            <p:ph type="ctrTitle" hasCustomPrompt="1"/>
          </p:nvPr>
        </p:nvSpPr>
        <p:spPr>
          <a:xfrm>
            <a:off x="384048" y="2286000"/>
            <a:ext cx="9521825" cy="1051116"/>
          </a:xfrm>
          <a:prstGeom prst="rect">
            <a:avLst/>
          </a:prstGeom>
        </p:spPr>
        <p:txBody>
          <a:bodyPr vert="horz" wrap="square" lIns="0" tIns="0" rIns="0" bIns="0" anchor="t" anchorCtr="0">
            <a:noAutofit/>
          </a:bodyPr>
          <a:lstStyle>
            <a:lvl1pPr algn="l">
              <a:defRPr sz="7200" b="0">
                <a:solidFill>
                  <a:schemeClr val="bg1"/>
                </a:solidFill>
                <a:latin typeface="3M Circular TT Bold" panose="020B0804020101010102" pitchFamily="34" charset="0"/>
                <a:cs typeface="3M Circular TT Bold" panose="020B0804020101010102" pitchFamily="34" charset="0"/>
              </a:defRPr>
            </a:lvl1pPr>
          </a:lstStyle>
          <a:p>
            <a:r>
              <a:rPr lang="en-US" dirty="0"/>
              <a:t>One-line title</a:t>
            </a:r>
            <a:endParaRPr lang="en-GB" dirty="0"/>
          </a:p>
        </p:txBody>
      </p:sp>
      <p:sp>
        <p:nvSpPr>
          <p:cNvPr id="23" name="Text Placeholder 7"/>
          <p:cNvSpPr>
            <a:spLocks noGrp="1"/>
          </p:cNvSpPr>
          <p:nvPr>
            <p:ph type="body" sz="quarter" idx="10" hasCustomPrompt="1"/>
          </p:nvPr>
        </p:nvSpPr>
        <p:spPr>
          <a:xfrm>
            <a:off x="384047" y="3895344"/>
            <a:ext cx="4114800" cy="480462"/>
          </a:xfrm>
          <a:prstGeom prst="rect">
            <a:avLst/>
          </a:prstGeom>
        </p:spPr>
        <p:txBody>
          <a:bodyPr lIns="0" tIns="0" rIns="0" bIns="0"/>
          <a:lstStyle>
            <a:lvl1pPr marL="0" indent="0">
              <a:buNone/>
              <a:defRPr sz="2800">
                <a:solidFill>
                  <a:schemeClr val="bg1"/>
                </a:solidFill>
                <a:latin typeface="3M Circular TT Book" panose="020B0604020101020102" pitchFamily="34" charset="0"/>
                <a:cs typeface="3M Circular TT Book" panose="020B0604020101020102" pitchFamily="34" charset="0"/>
              </a:defRPr>
            </a:lvl1pPr>
            <a:lvl5pPr>
              <a:defRPr/>
            </a:lvl5pPr>
          </a:lstStyle>
          <a:p>
            <a:pPr lvl="0"/>
            <a:r>
              <a:rPr lang="en-US" dirty="0"/>
              <a:t>Date</a:t>
            </a: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83035" y="384048"/>
            <a:ext cx="2424041" cy="430558"/>
          </a:xfrm>
          <a:prstGeom prst="rect">
            <a:avLst/>
          </a:prstGeom>
        </p:spPr>
      </p:pic>
    </p:spTree>
    <p:extLst>
      <p:ext uri="{BB962C8B-B14F-4D97-AF65-F5344CB8AC3E}">
        <p14:creationId xmlns:p14="http://schemas.microsoft.com/office/powerpoint/2010/main" val="752975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oleObject" Target="../embeddings/oleObject1.bin"/><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tags" Target="../tags/tag2.xml"/><Relationship Id="rId2" Type="http://schemas.openxmlformats.org/officeDocument/2006/relationships/slideLayout" Target="../slideLayouts/slideLayout42.xml"/><Relationship Id="rId16" Type="http://schemas.openxmlformats.org/officeDocument/2006/relationships/vmlDrawing" Target="../drawings/vmlDrawing1.v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theme" Target="../theme/theme2.xml"/><Relationship Id="rId10" Type="http://schemas.openxmlformats.org/officeDocument/2006/relationships/slideLayout" Target="../slideLayouts/slideLayout50.xml"/><Relationship Id="rId19" Type="http://schemas.openxmlformats.org/officeDocument/2006/relationships/image" Target="../media/image4.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oleObject" Target="../embeddings/oleObject11.bin"/><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tags" Target="../tags/tag12.xml"/><Relationship Id="rId2" Type="http://schemas.openxmlformats.org/officeDocument/2006/relationships/slideLayout" Target="../slideLayouts/slideLayout56.xml"/><Relationship Id="rId16" Type="http://schemas.openxmlformats.org/officeDocument/2006/relationships/vmlDrawing" Target="../drawings/vmlDrawing11.v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theme" Target="../theme/theme3.xml"/><Relationship Id="rId10" Type="http://schemas.openxmlformats.org/officeDocument/2006/relationships/slideLayout" Target="../slideLayouts/slideLayout64.xml"/><Relationship Id="rId19" Type="http://schemas.openxmlformats.org/officeDocument/2006/relationships/image" Target="../media/image4.emf"/><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9" Type="http://schemas.openxmlformats.org/officeDocument/2006/relationships/slideLayout" Target="../slideLayouts/slideLayout107.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34" Type="http://schemas.openxmlformats.org/officeDocument/2006/relationships/slideLayout" Target="../slideLayouts/slideLayout102.xml"/><Relationship Id="rId42" Type="http://schemas.openxmlformats.org/officeDocument/2006/relationships/theme" Target="../theme/theme4.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33" Type="http://schemas.openxmlformats.org/officeDocument/2006/relationships/slideLayout" Target="../slideLayouts/slideLayout101.xml"/><Relationship Id="rId38" Type="http://schemas.openxmlformats.org/officeDocument/2006/relationships/slideLayout" Target="../slideLayouts/slideLayout106.xml"/><Relationship Id="rId46" Type="http://schemas.openxmlformats.org/officeDocument/2006/relationships/image" Target="../media/image4.emf"/><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41" Type="http://schemas.openxmlformats.org/officeDocument/2006/relationships/slideLayout" Target="../slideLayouts/slideLayout109.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slideLayout" Target="../slideLayouts/slideLayout100.xml"/><Relationship Id="rId37" Type="http://schemas.openxmlformats.org/officeDocument/2006/relationships/slideLayout" Target="../slideLayouts/slideLayout105.xml"/><Relationship Id="rId40" Type="http://schemas.openxmlformats.org/officeDocument/2006/relationships/slideLayout" Target="../slideLayouts/slideLayout108.xml"/><Relationship Id="rId45" Type="http://schemas.openxmlformats.org/officeDocument/2006/relationships/oleObject" Target="../embeddings/oleObject21.bin"/><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36" Type="http://schemas.openxmlformats.org/officeDocument/2006/relationships/slideLayout" Target="../slideLayouts/slideLayout104.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4" Type="http://schemas.openxmlformats.org/officeDocument/2006/relationships/tags" Target="../tags/tag22.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 Id="rId35" Type="http://schemas.openxmlformats.org/officeDocument/2006/relationships/slideLayout" Target="../slideLayouts/slideLayout103.xml"/><Relationship Id="rId43" Type="http://schemas.openxmlformats.org/officeDocument/2006/relationships/vmlDrawing" Target="../drawings/vmlDrawing21.v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oleObject" Target="../embeddings/oleObject24.bin"/><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tags" Target="../tags/tag25.xml"/><Relationship Id="rId2" Type="http://schemas.openxmlformats.org/officeDocument/2006/relationships/slideLayout" Target="../slideLayouts/slideLayout111.xml"/><Relationship Id="rId16" Type="http://schemas.openxmlformats.org/officeDocument/2006/relationships/vmlDrawing" Target="../drawings/vmlDrawing24.vml"/><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theme" Target="../theme/theme5.xml"/><Relationship Id="rId10" Type="http://schemas.openxmlformats.org/officeDocument/2006/relationships/slideLayout" Target="../slideLayouts/slideLayout119.xml"/><Relationship Id="rId19" Type="http://schemas.openxmlformats.org/officeDocument/2006/relationships/image" Target="../media/image4.emf"/><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slideLayout" Target="../slideLayouts/slideLayout12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1.xml"/><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9" Type="http://schemas.openxmlformats.org/officeDocument/2006/relationships/slideLayout" Target="../slideLayouts/slideLayout162.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42" Type="http://schemas.openxmlformats.org/officeDocument/2006/relationships/tags" Target="../tags/tag35.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38" Type="http://schemas.openxmlformats.org/officeDocument/2006/relationships/slideLayout" Target="../slideLayouts/slideLayout161.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41" Type="http://schemas.openxmlformats.org/officeDocument/2006/relationships/vmlDrawing" Target="../drawings/vmlDrawing34.v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37" Type="http://schemas.openxmlformats.org/officeDocument/2006/relationships/slideLayout" Target="../slideLayouts/slideLayout160.xml"/><Relationship Id="rId40" Type="http://schemas.openxmlformats.org/officeDocument/2006/relationships/theme" Target="../theme/theme6.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slideLayout" Target="../slideLayouts/slideLayout159.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4" Type="http://schemas.openxmlformats.org/officeDocument/2006/relationships/image" Target="../media/image4.emf"/><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43" Type="http://schemas.openxmlformats.org/officeDocument/2006/relationships/oleObject" Target="../embeddings/oleObject3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152200900"/>
      </p:ext>
    </p:extLst>
  </p:cSld>
  <p:clrMap bg1="lt1" tx1="dk1" bg2="lt2" tx2="dk2" accent1="accent1" accent2="accent2" accent3="accent3" accent4="accent4" accent5="accent5" accent6="accent6" hlink="hlink" folHlink="folHlink"/>
  <p:sldLayoutIdLst>
    <p:sldLayoutId id="2147483664" r:id="rId1"/>
    <p:sldLayoutId id="2147483750" r:id="rId2"/>
    <p:sldLayoutId id="2147483666" r:id="rId3"/>
    <p:sldLayoutId id="2147483749" r:id="rId4"/>
    <p:sldLayoutId id="2147483727" r:id="rId5"/>
    <p:sldLayoutId id="2147483751" r:id="rId6"/>
    <p:sldLayoutId id="2147483671" r:id="rId7"/>
    <p:sldLayoutId id="2147483752" r:id="rId8"/>
    <p:sldLayoutId id="2147483728" r:id="rId9"/>
    <p:sldLayoutId id="2147483673" r:id="rId10"/>
    <p:sldLayoutId id="2147483672" r:id="rId11"/>
    <p:sldLayoutId id="2147483674" r:id="rId12"/>
    <p:sldLayoutId id="2147483676" r:id="rId13"/>
    <p:sldLayoutId id="2147483729" r:id="rId14"/>
    <p:sldLayoutId id="2147483675" r:id="rId15"/>
    <p:sldLayoutId id="2147483667" r:id="rId16"/>
    <p:sldLayoutId id="2147483663" r:id="rId17"/>
    <p:sldLayoutId id="2147483753" r:id="rId18"/>
    <p:sldLayoutId id="2147483709" r:id="rId19"/>
    <p:sldLayoutId id="2147483741" r:id="rId20"/>
    <p:sldLayoutId id="2147483740" r:id="rId21"/>
    <p:sldLayoutId id="2147483757" r:id="rId22"/>
    <p:sldLayoutId id="2147483754" r:id="rId23"/>
    <p:sldLayoutId id="2147483742" r:id="rId24"/>
    <p:sldLayoutId id="2147483759" r:id="rId25"/>
    <p:sldLayoutId id="2147483743" r:id="rId26"/>
    <p:sldLayoutId id="2147483760" r:id="rId27"/>
    <p:sldLayoutId id="2147483761" r:id="rId28"/>
    <p:sldLayoutId id="2147483762" r:id="rId29"/>
    <p:sldLayoutId id="2147483763" r:id="rId30"/>
    <p:sldLayoutId id="2147483764" r:id="rId31"/>
    <p:sldLayoutId id="2147483765" r:id="rId32"/>
    <p:sldLayoutId id="2147483766" r:id="rId33"/>
    <p:sldLayoutId id="2147483767" r:id="rId34"/>
    <p:sldLayoutId id="2147483768" r:id="rId35"/>
    <p:sldLayoutId id="2147483769" r:id="rId36"/>
    <p:sldLayoutId id="2147483770" r:id="rId37"/>
    <p:sldLayoutId id="2147483771" r:id="rId38"/>
    <p:sldLayoutId id="2147483772" r:id="rId39"/>
    <p:sldLayoutId id="2147483748" r:id="rId4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88" userDrawn="1">
          <p15:clr>
            <a:srgbClr val="F26B43"/>
          </p15:clr>
        </p15:guide>
        <p15:guide id="2" pos="3840" userDrawn="1">
          <p15:clr>
            <a:srgbClr val="F26B43"/>
          </p15:clr>
        </p15:guide>
        <p15:guide id="3" pos="2640" userDrawn="1">
          <p15:clr>
            <a:srgbClr val="F26B43"/>
          </p15:clr>
        </p15:guide>
        <p15:guide id="4" pos="1440" userDrawn="1">
          <p15:clr>
            <a:srgbClr val="F26B43"/>
          </p15:clr>
        </p15:guide>
        <p15:guide id="5" pos="240" userDrawn="1">
          <p15:clr>
            <a:srgbClr val="F26B43"/>
          </p15:clr>
        </p15:guide>
        <p15:guide id="6" pos="5040" userDrawn="1">
          <p15:clr>
            <a:srgbClr val="F26B43"/>
          </p15:clr>
        </p15:guide>
        <p15:guide id="7" pos="6240" userDrawn="1">
          <p15:clr>
            <a:srgbClr val="F26B43"/>
          </p15:clr>
        </p15:guide>
        <p15:guide id="8" pos="7440" userDrawn="1">
          <p15:clr>
            <a:srgbClr val="F26B43"/>
          </p15:clr>
        </p15:guide>
        <p15:guide id="9" orient="horz" pos="1474" userDrawn="1">
          <p15:clr>
            <a:srgbClr val="F26B43"/>
          </p15:clr>
        </p15:guide>
        <p15:guide id="10" orient="horz" pos="840" userDrawn="1">
          <p15:clr>
            <a:srgbClr val="F26B43"/>
          </p15:clr>
        </p15:guide>
        <p15:guide id="11" orient="horz" pos="240" userDrawn="1">
          <p15:clr>
            <a:srgbClr val="F26B43"/>
          </p15:clr>
        </p15:guide>
        <p15:guide id="12" orient="horz" pos="2696" userDrawn="1">
          <p15:clr>
            <a:srgbClr val="F26B43"/>
          </p15:clr>
        </p15:guide>
        <p15:guide id="14" orient="horz" pos="4080" userDrawn="1">
          <p15:clr>
            <a:srgbClr val="F26B43"/>
          </p15:clr>
        </p15:guide>
        <p15:guide id="15" orient="horz" pos="3936" userDrawn="1">
          <p15:clr>
            <a:srgbClr val="F26B43"/>
          </p15:clr>
        </p15:guide>
        <p15:guide id="17" pos="5034" userDrawn="1">
          <p15:clr>
            <a:srgbClr val="F26B43"/>
          </p15:clr>
        </p15:guide>
        <p15:guide id="18" orient="horz" pos="3312" userDrawn="1">
          <p15:clr>
            <a:srgbClr val="F26B43"/>
          </p15:clr>
        </p15:guide>
        <p15:guide id="19" orient="horz" pos="2702" userDrawn="1">
          <p15:clr>
            <a:srgbClr val="F26B43"/>
          </p15:clr>
        </p15:guide>
        <p15:guide id="21" pos="2634" userDrawn="1">
          <p15:clr>
            <a:srgbClr val="F26B43"/>
          </p15:clr>
        </p15:guide>
        <p15:guide id="22" pos="5046" userDrawn="1">
          <p15:clr>
            <a:srgbClr val="F26B43"/>
          </p15:clr>
        </p15:guide>
        <p15:guide id="23" orient="horz" pos="1468" userDrawn="1">
          <p15:clr>
            <a:srgbClr val="F26B43"/>
          </p15:clr>
        </p15:guide>
        <p15:guide id="25" orient="horz" pos="1480" userDrawn="1">
          <p15:clr>
            <a:srgbClr val="F26B43"/>
          </p15:clr>
        </p15:guide>
        <p15:guide id="26" orient="horz" pos="2706" userDrawn="1">
          <p15:clr>
            <a:srgbClr val="F26B43"/>
          </p15:clr>
        </p15:guide>
        <p15:guide id="27" pos="2648" userDrawn="1">
          <p15:clr>
            <a:srgbClr val="F26B43"/>
          </p15:clr>
        </p15:guide>
        <p15:guide id="28" orient="horz" pos="576" userDrawn="1">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ext uri="{D42A27DB-BD31-4B8C-83A1-F6EECF244321}">
                <p14:modId xmlns:p14="http://schemas.microsoft.com/office/powerpoint/2010/main" val="28862966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9"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Rectangle 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6" name="TextBox 24"/>
          <p:cNvSpPr txBox="1">
            <a:spLocks noChangeArrowheads="1"/>
          </p:cNvSpPr>
          <p:nvPr userDrawn="1"/>
        </p:nvSpPr>
        <p:spPr bwMode="auto">
          <a:xfrm>
            <a:off x="377518" y="6544968"/>
            <a:ext cx="2406322" cy="2151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nchorCtr="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  2017. All Rights Reserved.   3M Confidential.</a:t>
            </a:r>
          </a:p>
        </p:txBody>
      </p:sp>
    </p:spTree>
    <p:extLst>
      <p:ext uri="{BB962C8B-B14F-4D97-AF65-F5344CB8AC3E}">
        <p14:creationId xmlns:p14="http://schemas.microsoft.com/office/powerpoint/2010/main" val="1454437826"/>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3" orient="horz" pos="4080">
          <p15:clr>
            <a:srgbClr val="F26B43"/>
          </p15:clr>
        </p15:guide>
        <p15:guide id="14" orient="horz" pos="3936">
          <p15:clr>
            <a:srgbClr val="F26B43"/>
          </p15:clr>
        </p15:guide>
        <p15:guide id="15" pos="5034">
          <p15:clr>
            <a:srgbClr val="F26B43"/>
          </p15:clr>
        </p15:guide>
        <p15:guide id="16" orient="horz" pos="3312">
          <p15:clr>
            <a:srgbClr val="F26B43"/>
          </p15:clr>
        </p15:guide>
        <p15:guide id="17" orient="horz" pos="2702">
          <p15:clr>
            <a:srgbClr val="F26B43"/>
          </p15:clr>
        </p15:guide>
        <p15:guide id="18" pos="2634">
          <p15:clr>
            <a:srgbClr val="F26B43"/>
          </p15:clr>
        </p15:guide>
        <p15:guide id="19" pos="5046">
          <p15:clr>
            <a:srgbClr val="F26B43"/>
          </p15:clr>
        </p15:guide>
        <p15:guide id="20" orient="horz" pos="1468">
          <p15:clr>
            <a:srgbClr val="F26B43"/>
          </p15:clr>
        </p15:guide>
        <p15:guide id="21" orient="horz" pos="1480">
          <p15:clr>
            <a:srgbClr val="F26B43"/>
          </p15:clr>
        </p15:guide>
        <p15:guide id="22" orient="horz" pos="2706">
          <p15:clr>
            <a:srgbClr val="F26B43"/>
          </p15:clr>
        </p15:guide>
        <p15:guide id="23" pos="2648">
          <p15:clr>
            <a:srgbClr val="F26B43"/>
          </p15:clr>
        </p15:guide>
        <p15:guide id="24" orient="horz" pos="576">
          <p15:clr>
            <a:srgbClr val="FBAE4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ext uri="{D42A27DB-BD31-4B8C-83A1-F6EECF244321}">
                <p14:modId xmlns:p14="http://schemas.microsoft.com/office/powerpoint/2010/main" val="2597127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Rectangle 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6" name="TextBox 24"/>
          <p:cNvSpPr txBox="1">
            <a:spLocks noChangeArrowheads="1"/>
          </p:cNvSpPr>
          <p:nvPr userDrawn="1"/>
        </p:nvSpPr>
        <p:spPr bwMode="auto">
          <a:xfrm>
            <a:off x="377518" y="6544968"/>
            <a:ext cx="2406322" cy="2151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nchorCtr="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  2017. All Rights Reserved.   3M Confidential.</a:t>
            </a:r>
          </a:p>
        </p:txBody>
      </p:sp>
    </p:spTree>
    <p:extLst>
      <p:ext uri="{BB962C8B-B14F-4D97-AF65-F5344CB8AC3E}">
        <p14:creationId xmlns:p14="http://schemas.microsoft.com/office/powerpoint/2010/main" val="2381480936"/>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3" orient="horz" pos="4080">
          <p15:clr>
            <a:srgbClr val="F26B43"/>
          </p15:clr>
        </p15:guide>
        <p15:guide id="14" orient="horz" pos="3936">
          <p15:clr>
            <a:srgbClr val="F26B43"/>
          </p15:clr>
        </p15:guide>
        <p15:guide id="15" pos="5034">
          <p15:clr>
            <a:srgbClr val="F26B43"/>
          </p15:clr>
        </p15:guide>
        <p15:guide id="16" orient="horz" pos="3312">
          <p15:clr>
            <a:srgbClr val="F26B43"/>
          </p15:clr>
        </p15:guide>
        <p15:guide id="17" orient="horz" pos="2702">
          <p15:clr>
            <a:srgbClr val="F26B43"/>
          </p15:clr>
        </p15:guide>
        <p15:guide id="18" pos="2634">
          <p15:clr>
            <a:srgbClr val="F26B43"/>
          </p15:clr>
        </p15:guide>
        <p15:guide id="19" pos="5046">
          <p15:clr>
            <a:srgbClr val="F26B43"/>
          </p15:clr>
        </p15:guide>
        <p15:guide id="20" orient="horz" pos="1468">
          <p15:clr>
            <a:srgbClr val="F26B43"/>
          </p15:clr>
        </p15:guide>
        <p15:guide id="21" orient="horz" pos="1480">
          <p15:clr>
            <a:srgbClr val="F26B43"/>
          </p15:clr>
        </p15:guide>
        <p15:guide id="22" orient="horz" pos="2706">
          <p15:clr>
            <a:srgbClr val="F26B43"/>
          </p15:clr>
        </p15:guide>
        <p15:guide id="23" pos="2648">
          <p15:clr>
            <a:srgbClr val="F26B43"/>
          </p15:clr>
        </p15:guide>
        <p15:guide id="24" orient="horz" pos="576">
          <p15:clr>
            <a:srgbClr val="FBAE4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4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3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070603906"/>
      </p:ext>
    </p:extLst>
  </p:cSld>
  <p:clrMap bg1="lt1" tx1="dk1" bg2="lt2" tx2="dk2" accent1="accent1" accent2="accent2" accent3="accent3" accent4="accent4" accent5="accent5" accent6="accent6" hlink="hlink" folHlink="folHlink"/>
  <p:sldLayoutIdLst>
    <p:sldLayoutId id="2147483804" r:id="rId1"/>
    <p:sldLayoutId id="2147483805" r:id="rId2"/>
    <p:sldLayoutId id="2147483806" r:id="rId3"/>
    <p:sldLayoutId id="2147483807" r:id="rId4"/>
    <p:sldLayoutId id="2147483808" r:id="rId5"/>
    <p:sldLayoutId id="2147483809" r:id="rId6"/>
    <p:sldLayoutId id="2147483810" r:id="rId7"/>
    <p:sldLayoutId id="2147483811" r:id="rId8"/>
    <p:sldLayoutId id="2147483812" r:id="rId9"/>
    <p:sldLayoutId id="2147483813" r:id="rId10"/>
    <p:sldLayoutId id="2147483814" r:id="rId11"/>
    <p:sldLayoutId id="2147483815" r:id="rId12"/>
    <p:sldLayoutId id="2147483816" r:id="rId13"/>
    <p:sldLayoutId id="2147483817"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 id="2147483828" r:id="rId25"/>
    <p:sldLayoutId id="2147483829" r:id="rId26"/>
    <p:sldLayoutId id="2147483830" r:id="rId27"/>
    <p:sldLayoutId id="2147483831" r:id="rId28"/>
    <p:sldLayoutId id="2147483832" r:id="rId29"/>
    <p:sldLayoutId id="2147483833" r:id="rId30"/>
    <p:sldLayoutId id="2147483834" r:id="rId31"/>
    <p:sldLayoutId id="2147483835" r:id="rId32"/>
    <p:sldLayoutId id="2147483836" r:id="rId33"/>
    <p:sldLayoutId id="2147483837" r:id="rId34"/>
    <p:sldLayoutId id="2147483838" r:id="rId35"/>
    <p:sldLayoutId id="2147483839" r:id="rId36"/>
    <p:sldLayoutId id="2147483840" r:id="rId37"/>
    <p:sldLayoutId id="2147483841" r:id="rId38"/>
    <p:sldLayoutId id="2147483842" r:id="rId39"/>
    <p:sldLayoutId id="2147483843" r:id="rId40"/>
    <p:sldLayoutId id="2147483940" r:id="rId4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3" orient="horz" pos="4080">
          <p15:clr>
            <a:srgbClr val="F26B43"/>
          </p15:clr>
        </p15:guide>
        <p15:guide id="14" orient="horz" pos="3936">
          <p15:clr>
            <a:srgbClr val="F26B43"/>
          </p15:clr>
        </p15:guide>
        <p15:guide id="15" pos="5034">
          <p15:clr>
            <a:srgbClr val="F26B43"/>
          </p15:clr>
        </p15:guide>
        <p15:guide id="16" orient="horz" pos="3312">
          <p15:clr>
            <a:srgbClr val="F26B43"/>
          </p15:clr>
        </p15:guide>
        <p15:guide id="17" orient="horz" pos="2702">
          <p15:clr>
            <a:srgbClr val="F26B43"/>
          </p15:clr>
        </p15:guide>
        <p15:guide id="18" pos="2634">
          <p15:clr>
            <a:srgbClr val="F26B43"/>
          </p15:clr>
        </p15:guide>
        <p15:guide id="19" pos="5046">
          <p15:clr>
            <a:srgbClr val="F26B43"/>
          </p15:clr>
        </p15:guide>
        <p15:guide id="20" orient="horz" pos="1468">
          <p15:clr>
            <a:srgbClr val="F26B43"/>
          </p15:clr>
        </p15:guide>
        <p15:guide id="21" orient="horz" pos="1480">
          <p15:clr>
            <a:srgbClr val="F26B43"/>
          </p15:clr>
        </p15:guide>
        <p15:guide id="22" orient="horz" pos="2706">
          <p15:clr>
            <a:srgbClr val="F26B43"/>
          </p15:clr>
        </p15:guide>
        <p15:guide id="23" pos="2648">
          <p15:clr>
            <a:srgbClr val="F26B43"/>
          </p15:clr>
        </p15:guide>
        <p15:guide id="24" orient="horz" pos="576">
          <p15:clr>
            <a:srgbClr val="FBAE4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9"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Rectangle 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6" name="TextBox 24"/>
          <p:cNvSpPr txBox="1">
            <a:spLocks noChangeArrowheads="1"/>
          </p:cNvSpPr>
          <p:nvPr userDrawn="1"/>
        </p:nvSpPr>
        <p:spPr bwMode="auto">
          <a:xfrm>
            <a:off x="377518" y="6544968"/>
            <a:ext cx="2406322" cy="21518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tIns="0" rIns="0" bIns="0" anchor="ctr" anchorCtr="0"/>
          <a:lstStyle>
            <a:lvl1pPr eaLnBrk="0" hangingPunct="0">
              <a:defRPr sz="2400">
                <a:solidFill>
                  <a:schemeClr val="tx1"/>
                </a:solidFill>
                <a:latin typeface="Arial" charset="0"/>
                <a:ea typeface="ＭＳ Ｐゴシック" charset="0"/>
                <a:cs typeface="Arial" charset="0"/>
              </a:defRPr>
            </a:lvl1pPr>
            <a:lvl2pPr marL="742950" indent="-285750" eaLnBrk="0" hangingPunct="0">
              <a:defRPr sz="2400">
                <a:solidFill>
                  <a:schemeClr val="tx1"/>
                </a:solidFill>
                <a:latin typeface="Arial" charset="0"/>
                <a:ea typeface="Arial" charset="0"/>
                <a:cs typeface="Arial" charset="0"/>
              </a:defRPr>
            </a:lvl2pPr>
            <a:lvl3pPr marL="1143000" indent="-228600" eaLnBrk="0" hangingPunct="0">
              <a:defRPr sz="2400">
                <a:solidFill>
                  <a:schemeClr val="tx1"/>
                </a:solidFill>
                <a:latin typeface="Arial" charset="0"/>
                <a:ea typeface="Arial" charset="0"/>
                <a:cs typeface="Arial" charset="0"/>
              </a:defRPr>
            </a:lvl3pPr>
            <a:lvl4pPr marL="1600200" indent="-228600" eaLnBrk="0" hangingPunct="0">
              <a:defRPr sz="2400">
                <a:solidFill>
                  <a:schemeClr val="tx1"/>
                </a:solidFill>
                <a:latin typeface="Arial" charset="0"/>
                <a:ea typeface="Arial" charset="0"/>
                <a:cs typeface="Arial" charset="0"/>
              </a:defRPr>
            </a:lvl4pPr>
            <a:lvl5pPr marL="2057400" indent="-228600" eaLnBrk="0" hangingPunct="0">
              <a:defRPr sz="2400">
                <a:solidFill>
                  <a:schemeClr val="tx1"/>
                </a:solidFill>
                <a:latin typeface="Arial" charset="0"/>
                <a:ea typeface="Arial" charset="0"/>
                <a:cs typeface="Arial" charset="0"/>
              </a:defRPr>
            </a:lvl5pPr>
            <a:lvl6pPr marL="2514600" indent="-228600" eaLnBrk="0" fontAlgn="base" hangingPunct="0">
              <a:spcBef>
                <a:spcPct val="0"/>
              </a:spcBef>
              <a:spcAft>
                <a:spcPct val="0"/>
              </a:spcAft>
              <a:defRPr sz="2400">
                <a:solidFill>
                  <a:schemeClr val="tx1"/>
                </a:solidFill>
                <a:latin typeface="Arial" charset="0"/>
                <a:ea typeface="Arial" charset="0"/>
                <a:cs typeface="Arial" charset="0"/>
              </a:defRPr>
            </a:lvl6pPr>
            <a:lvl7pPr marL="2971800" indent="-228600" eaLnBrk="0" fontAlgn="base" hangingPunct="0">
              <a:spcBef>
                <a:spcPct val="0"/>
              </a:spcBef>
              <a:spcAft>
                <a:spcPct val="0"/>
              </a:spcAft>
              <a:defRPr sz="2400">
                <a:solidFill>
                  <a:schemeClr val="tx1"/>
                </a:solidFill>
                <a:latin typeface="Arial" charset="0"/>
                <a:ea typeface="Arial" charset="0"/>
                <a:cs typeface="Arial" charset="0"/>
              </a:defRPr>
            </a:lvl7pPr>
            <a:lvl8pPr marL="3429000" indent="-228600" eaLnBrk="0" fontAlgn="base" hangingPunct="0">
              <a:spcBef>
                <a:spcPct val="0"/>
              </a:spcBef>
              <a:spcAft>
                <a:spcPct val="0"/>
              </a:spcAft>
              <a:defRPr sz="2400">
                <a:solidFill>
                  <a:schemeClr val="tx1"/>
                </a:solidFill>
                <a:latin typeface="Arial" charset="0"/>
                <a:ea typeface="Arial" charset="0"/>
                <a:cs typeface="Arial" charset="0"/>
              </a:defRPr>
            </a:lvl8pPr>
            <a:lvl9pPr marL="3886200" indent="-228600" eaLnBrk="0" fontAlgn="base" hangingPunct="0">
              <a:spcBef>
                <a:spcPct val="0"/>
              </a:spcBef>
              <a:spcAft>
                <a:spcPct val="0"/>
              </a:spcAft>
              <a:defRPr sz="2400">
                <a:solidFill>
                  <a:schemeClr val="tx1"/>
                </a:solidFill>
                <a:latin typeface="Arial" charset="0"/>
                <a:ea typeface="Arial" charset="0"/>
                <a:cs typeface="Arial" charset="0"/>
              </a:defRPr>
            </a:lvl9pPr>
          </a:lstStyle>
          <a:p>
            <a:pPr eaLnBrk="1" fontAlgn="base" hangingPunct="1">
              <a:spcBef>
                <a:spcPct val="0"/>
              </a:spcBef>
              <a:spcAft>
                <a:spcPct val="0"/>
              </a:spcAft>
              <a:defRPr/>
            </a:pPr>
            <a:r>
              <a:rPr lang="en-US" sz="800" kern="0" dirty="0">
                <a:solidFill>
                  <a:prstClr val="black"/>
                </a:solidFill>
                <a:latin typeface="3M Circular TT Book" panose="020B0604020101020102" pitchFamily="34" charset="0"/>
                <a:cs typeface="3M Circular TT Book" panose="020B0604020101020102" pitchFamily="34" charset="0"/>
              </a:rPr>
              <a:t>© 3M  2017. All Rights Reserved.   3M Confidential.</a:t>
            </a:r>
          </a:p>
        </p:txBody>
      </p:sp>
    </p:spTree>
    <p:extLst>
      <p:ext uri="{BB962C8B-B14F-4D97-AF65-F5344CB8AC3E}">
        <p14:creationId xmlns:p14="http://schemas.microsoft.com/office/powerpoint/2010/main" val="2331418267"/>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3" orient="horz" pos="4080">
          <p15:clr>
            <a:srgbClr val="F26B43"/>
          </p15:clr>
        </p15:guide>
        <p15:guide id="14" orient="horz" pos="3936">
          <p15:clr>
            <a:srgbClr val="F26B43"/>
          </p15:clr>
        </p15:guide>
        <p15:guide id="15" pos="5034">
          <p15:clr>
            <a:srgbClr val="F26B43"/>
          </p15:clr>
        </p15:guide>
        <p15:guide id="16" orient="horz" pos="3312">
          <p15:clr>
            <a:srgbClr val="F26B43"/>
          </p15:clr>
        </p15:guide>
        <p15:guide id="17" orient="horz" pos="2702">
          <p15:clr>
            <a:srgbClr val="F26B43"/>
          </p15:clr>
        </p15:guide>
        <p15:guide id="18" pos="2634">
          <p15:clr>
            <a:srgbClr val="F26B43"/>
          </p15:clr>
        </p15:guide>
        <p15:guide id="19" pos="5046">
          <p15:clr>
            <a:srgbClr val="F26B43"/>
          </p15:clr>
        </p15:guide>
        <p15:guide id="20" orient="horz" pos="1468">
          <p15:clr>
            <a:srgbClr val="F26B43"/>
          </p15:clr>
        </p15:guide>
        <p15:guide id="21" orient="horz" pos="1480">
          <p15:clr>
            <a:srgbClr val="F26B43"/>
          </p15:clr>
        </p15:guide>
        <p15:guide id="22" orient="horz" pos="2706">
          <p15:clr>
            <a:srgbClr val="F26B43"/>
          </p15:clr>
        </p15:guide>
        <p15:guide id="23" pos="2648">
          <p15:clr>
            <a:srgbClr val="F26B43"/>
          </p15:clr>
        </p15:guide>
        <p15:guide id="24" orient="horz" pos="576">
          <p15:clr>
            <a:srgbClr val="FBAE40"/>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2" name="think-cell Slide" r:id="rId43" imgW="270" imgH="270" progId="TCLayout.ActiveDocument.1">
                  <p:embed/>
                </p:oleObj>
              </mc:Choice>
              <mc:Fallback>
                <p:oleObj name="think-cell Slide" r:id="rId43" imgW="270" imgH="270" progId="TCLayout.ActiveDocument.1">
                  <p:embed/>
                  <p:pic>
                    <p:nvPicPr>
                      <p:cNvPr id="0" name=""/>
                      <p:cNvPicPr/>
                      <p:nvPr/>
                    </p:nvPicPr>
                    <p:blipFill>
                      <a:blip r:embed="rId4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379412" y="381000"/>
            <a:ext cx="11425237" cy="822960"/>
          </a:xfrm>
          <a:prstGeom prst="rect">
            <a:avLst/>
          </a:prstGeom>
        </p:spPr>
        <p:txBody>
          <a:bodyPr vert="horz" wrap="square"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379412" y="1295400"/>
            <a:ext cx="11425236" cy="4953000"/>
          </a:xfrm>
          <a:prstGeom prst="rect">
            <a:avLst/>
          </a:prstGeom>
        </p:spPr>
        <p:txBody>
          <a:bodyPr vert="horz" wrap="square" lIns="0" tIns="0" rIns="18000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Rectangle 4"/>
          <p:cNvSpPr/>
          <p:nvPr userDrawn="1"/>
        </p:nvSpPr>
        <p:spPr>
          <a:xfrm>
            <a:off x="0" y="1"/>
            <a:ext cx="12192000" cy="152402"/>
          </a:xfrm>
          <a:prstGeom prst="rect">
            <a:avLst/>
          </a:prstGeom>
          <a:gradFill>
            <a:gsLst>
              <a:gs pos="0">
                <a:srgbClr val="00C8E6"/>
              </a:gs>
              <a:gs pos="97000">
                <a:srgbClr val="1E1E96"/>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Tree>
    <p:extLst>
      <p:ext uri="{BB962C8B-B14F-4D97-AF65-F5344CB8AC3E}">
        <p14:creationId xmlns:p14="http://schemas.microsoft.com/office/powerpoint/2010/main" val="2556787276"/>
      </p:ext>
    </p:extLst>
  </p:cSld>
  <p:clrMap bg1="lt1" tx1="dk1" bg2="lt2" tx2="dk2" accent1="accent1" accent2="accent2" accent3="accent3" accent4="accent4" accent5="accent5" accent6="accent6" hlink="hlink" folHlink="folHlink"/>
  <p:sldLayoutIdLst>
    <p:sldLayoutId id="2147483901" r:id="rId1"/>
    <p:sldLayoutId id="2147483902" r:id="rId2"/>
    <p:sldLayoutId id="2147483903" r:id="rId3"/>
    <p:sldLayoutId id="2147483904" r:id="rId4"/>
    <p:sldLayoutId id="2147483905" r:id="rId5"/>
    <p:sldLayoutId id="2147483906" r:id="rId6"/>
    <p:sldLayoutId id="2147483907" r:id="rId7"/>
    <p:sldLayoutId id="2147483908" r:id="rId8"/>
    <p:sldLayoutId id="2147483909" r:id="rId9"/>
    <p:sldLayoutId id="2147483910" r:id="rId10"/>
    <p:sldLayoutId id="2147483911" r:id="rId11"/>
    <p:sldLayoutId id="2147483912" r:id="rId12"/>
    <p:sldLayoutId id="2147483913" r:id="rId13"/>
    <p:sldLayoutId id="2147483914" r:id="rId14"/>
    <p:sldLayoutId id="2147483915" r:id="rId15"/>
    <p:sldLayoutId id="2147483916" r:id="rId16"/>
    <p:sldLayoutId id="2147483917" r:id="rId17"/>
    <p:sldLayoutId id="2147483918" r:id="rId18"/>
    <p:sldLayoutId id="2147483919" r:id="rId19"/>
    <p:sldLayoutId id="2147483920" r:id="rId20"/>
    <p:sldLayoutId id="2147483921" r:id="rId21"/>
    <p:sldLayoutId id="2147483922" r:id="rId22"/>
    <p:sldLayoutId id="2147483923" r:id="rId23"/>
    <p:sldLayoutId id="2147483924" r:id="rId24"/>
    <p:sldLayoutId id="2147483925" r:id="rId25"/>
    <p:sldLayoutId id="2147483926" r:id="rId26"/>
    <p:sldLayoutId id="2147483927" r:id="rId27"/>
    <p:sldLayoutId id="2147483928" r:id="rId28"/>
    <p:sldLayoutId id="2147483929" r:id="rId29"/>
    <p:sldLayoutId id="2147483930" r:id="rId30"/>
    <p:sldLayoutId id="2147483931" r:id="rId31"/>
    <p:sldLayoutId id="2147483932" r:id="rId32"/>
    <p:sldLayoutId id="2147483933" r:id="rId33"/>
    <p:sldLayoutId id="2147483934" r:id="rId34"/>
    <p:sldLayoutId id="2147483935" r:id="rId35"/>
    <p:sldLayoutId id="2147483936" r:id="rId36"/>
    <p:sldLayoutId id="2147483937" r:id="rId37"/>
    <p:sldLayoutId id="2147483938" r:id="rId38"/>
    <p:sldLayoutId id="2147483939"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088">
          <p15:clr>
            <a:srgbClr val="F26B43"/>
          </p15:clr>
        </p15:guide>
        <p15:guide id="2" pos="3840">
          <p15:clr>
            <a:srgbClr val="F26B43"/>
          </p15:clr>
        </p15:guide>
        <p15:guide id="3" pos="2640">
          <p15:clr>
            <a:srgbClr val="F26B43"/>
          </p15:clr>
        </p15:guide>
        <p15:guide id="4" pos="1440">
          <p15:clr>
            <a:srgbClr val="F26B43"/>
          </p15:clr>
        </p15:guide>
        <p15:guide id="5" pos="240">
          <p15:clr>
            <a:srgbClr val="F26B43"/>
          </p15:clr>
        </p15:guide>
        <p15:guide id="6" pos="5040">
          <p15:clr>
            <a:srgbClr val="F26B43"/>
          </p15:clr>
        </p15:guide>
        <p15:guide id="7" pos="6240">
          <p15:clr>
            <a:srgbClr val="F26B43"/>
          </p15:clr>
        </p15:guide>
        <p15:guide id="8" pos="7440">
          <p15:clr>
            <a:srgbClr val="F26B43"/>
          </p15:clr>
        </p15:guide>
        <p15:guide id="9" orient="horz" pos="1474">
          <p15:clr>
            <a:srgbClr val="F26B43"/>
          </p15:clr>
        </p15:guide>
        <p15:guide id="10" orient="horz" pos="840">
          <p15:clr>
            <a:srgbClr val="F26B43"/>
          </p15:clr>
        </p15:guide>
        <p15:guide id="11" orient="horz" pos="240">
          <p15:clr>
            <a:srgbClr val="F26B43"/>
          </p15:clr>
        </p15:guide>
        <p15:guide id="12" orient="horz" pos="2696">
          <p15:clr>
            <a:srgbClr val="F26B43"/>
          </p15:clr>
        </p15:guide>
        <p15:guide id="13" orient="horz" pos="4080">
          <p15:clr>
            <a:srgbClr val="F26B43"/>
          </p15:clr>
        </p15:guide>
        <p15:guide id="14" orient="horz" pos="3936">
          <p15:clr>
            <a:srgbClr val="F26B43"/>
          </p15:clr>
        </p15:guide>
        <p15:guide id="15" pos="5034">
          <p15:clr>
            <a:srgbClr val="F26B43"/>
          </p15:clr>
        </p15:guide>
        <p15:guide id="16" orient="horz" pos="3312">
          <p15:clr>
            <a:srgbClr val="F26B43"/>
          </p15:clr>
        </p15:guide>
        <p15:guide id="17" orient="horz" pos="2702">
          <p15:clr>
            <a:srgbClr val="F26B43"/>
          </p15:clr>
        </p15:guide>
        <p15:guide id="18" pos="2634">
          <p15:clr>
            <a:srgbClr val="F26B43"/>
          </p15:clr>
        </p15:guide>
        <p15:guide id="19" pos="5046">
          <p15:clr>
            <a:srgbClr val="F26B43"/>
          </p15:clr>
        </p15:guide>
        <p15:guide id="20" orient="horz" pos="1468">
          <p15:clr>
            <a:srgbClr val="F26B43"/>
          </p15:clr>
        </p15:guide>
        <p15:guide id="21" orient="horz" pos="1480">
          <p15:clr>
            <a:srgbClr val="F26B43"/>
          </p15:clr>
        </p15:guide>
        <p15:guide id="22" orient="horz" pos="2706">
          <p15:clr>
            <a:srgbClr val="F26B43"/>
          </p15:clr>
        </p15:guide>
        <p15:guide id="23" pos="2648">
          <p15:clr>
            <a:srgbClr val="F26B43"/>
          </p15:clr>
        </p15:guide>
        <p15:guide id="24" orient="horz" pos="576">
          <p15:clr>
            <a:srgbClr val="FBAE4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70.xml"/><Relationship Id="rId7" Type="http://schemas.openxmlformats.org/officeDocument/2006/relationships/image" Target="../media/image16.png"/><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15.png"/><Relationship Id="rId5" Type="http://schemas.openxmlformats.org/officeDocument/2006/relationships/image" Target="../media/image4.emf"/><Relationship Id="rId4" Type="http://schemas.openxmlformats.org/officeDocument/2006/relationships/oleObject" Target="../embeddings/oleObject53.bin"/><Relationship Id="rId9" Type="http://schemas.openxmlformats.org/officeDocument/2006/relationships/image" Target="../media/image18.png"/></Relationships>
</file>

<file path=ppt/slides/_rels/slide4.xml.rels><?xml version="1.0" encoding="UTF-8" standalone="yes"?>
<Relationships xmlns="http://schemas.openxmlformats.org/package/2006/relationships"><Relationship Id="rId13" Type="http://schemas.openxmlformats.org/officeDocument/2006/relationships/tags" Target="../tags/tag66.xml"/><Relationship Id="rId18" Type="http://schemas.openxmlformats.org/officeDocument/2006/relationships/tags" Target="../tags/tag71.xml"/><Relationship Id="rId26" Type="http://schemas.openxmlformats.org/officeDocument/2006/relationships/tags" Target="../tags/tag79.xml"/><Relationship Id="rId39" Type="http://schemas.openxmlformats.org/officeDocument/2006/relationships/tags" Target="../tags/tag92.xml"/><Relationship Id="rId21" Type="http://schemas.openxmlformats.org/officeDocument/2006/relationships/tags" Target="../tags/tag74.xml"/><Relationship Id="rId34" Type="http://schemas.openxmlformats.org/officeDocument/2006/relationships/tags" Target="../tags/tag87.xml"/><Relationship Id="rId42" Type="http://schemas.openxmlformats.org/officeDocument/2006/relationships/tags" Target="../tags/tag95.xml"/><Relationship Id="rId47" Type="http://schemas.openxmlformats.org/officeDocument/2006/relationships/tags" Target="../tags/tag100.xml"/><Relationship Id="rId50" Type="http://schemas.openxmlformats.org/officeDocument/2006/relationships/oleObject" Target="../embeddings/oleObject54.bin"/><Relationship Id="rId55" Type="http://schemas.openxmlformats.org/officeDocument/2006/relationships/image" Target="../media/image20.emf"/><Relationship Id="rId7" Type="http://schemas.openxmlformats.org/officeDocument/2006/relationships/tags" Target="../tags/tag60.xml"/><Relationship Id="rId12" Type="http://schemas.openxmlformats.org/officeDocument/2006/relationships/tags" Target="../tags/tag65.xml"/><Relationship Id="rId17" Type="http://schemas.openxmlformats.org/officeDocument/2006/relationships/tags" Target="../tags/tag70.xml"/><Relationship Id="rId25" Type="http://schemas.openxmlformats.org/officeDocument/2006/relationships/tags" Target="../tags/tag78.xml"/><Relationship Id="rId33" Type="http://schemas.openxmlformats.org/officeDocument/2006/relationships/tags" Target="../tags/tag86.xml"/><Relationship Id="rId38" Type="http://schemas.openxmlformats.org/officeDocument/2006/relationships/tags" Target="../tags/tag91.xml"/><Relationship Id="rId46" Type="http://schemas.openxmlformats.org/officeDocument/2006/relationships/tags" Target="../tags/tag99.xml"/><Relationship Id="rId2" Type="http://schemas.openxmlformats.org/officeDocument/2006/relationships/tags" Target="../tags/tag55.xml"/><Relationship Id="rId16" Type="http://schemas.openxmlformats.org/officeDocument/2006/relationships/tags" Target="../tags/tag69.xml"/><Relationship Id="rId20" Type="http://schemas.openxmlformats.org/officeDocument/2006/relationships/tags" Target="../tags/tag73.xml"/><Relationship Id="rId29" Type="http://schemas.openxmlformats.org/officeDocument/2006/relationships/tags" Target="../tags/tag82.xml"/><Relationship Id="rId41" Type="http://schemas.openxmlformats.org/officeDocument/2006/relationships/tags" Target="../tags/tag94.xml"/><Relationship Id="rId54" Type="http://schemas.openxmlformats.org/officeDocument/2006/relationships/oleObject" Target="../embeddings/oleObject56.bin"/><Relationship Id="rId1" Type="http://schemas.openxmlformats.org/officeDocument/2006/relationships/vmlDrawing" Target="../drawings/vmlDrawing54.vml"/><Relationship Id="rId6" Type="http://schemas.openxmlformats.org/officeDocument/2006/relationships/tags" Target="../tags/tag59.xml"/><Relationship Id="rId11" Type="http://schemas.openxmlformats.org/officeDocument/2006/relationships/tags" Target="../tags/tag64.xml"/><Relationship Id="rId24" Type="http://schemas.openxmlformats.org/officeDocument/2006/relationships/tags" Target="../tags/tag77.xml"/><Relationship Id="rId32" Type="http://schemas.openxmlformats.org/officeDocument/2006/relationships/tags" Target="../tags/tag85.xml"/><Relationship Id="rId37" Type="http://schemas.openxmlformats.org/officeDocument/2006/relationships/tags" Target="../tags/tag90.xml"/><Relationship Id="rId40" Type="http://schemas.openxmlformats.org/officeDocument/2006/relationships/tags" Target="../tags/tag93.xml"/><Relationship Id="rId45" Type="http://schemas.openxmlformats.org/officeDocument/2006/relationships/tags" Target="../tags/tag98.xml"/><Relationship Id="rId53" Type="http://schemas.openxmlformats.org/officeDocument/2006/relationships/image" Target="../media/image19.emf"/><Relationship Id="rId5" Type="http://schemas.openxmlformats.org/officeDocument/2006/relationships/tags" Target="../tags/tag58.xml"/><Relationship Id="rId15" Type="http://schemas.openxmlformats.org/officeDocument/2006/relationships/tags" Target="../tags/tag68.xml"/><Relationship Id="rId23" Type="http://schemas.openxmlformats.org/officeDocument/2006/relationships/tags" Target="../tags/tag76.xml"/><Relationship Id="rId28" Type="http://schemas.openxmlformats.org/officeDocument/2006/relationships/tags" Target="../tags/tag81.xml"/><Relationship Id="rId36" Type="http://schemas.openxmlformats.org/officeDocument/2006/relationships/tags" Target="../tags/tag89.xml"/><Relationship Id="rId49" Type="http://schemas.openxmlformats.org/officeDocument/2006/relationships/notesSlide" Target="../notesSlides/notesSlide2.xml"/><Relationship Id="rId10" Type="http://schemas.openxmlformats.org/officeDocument/2006/relationships/tags" Target="../tags/tag63.xml"/><Relationship Id="rId19" Type="http://schemas.openxmlformats.org/officeDocument/2006/relationships/tags" Target="../tags/tag72.xml"/><Relationship Id="rId31" Type="http://schemas.openxmlformats.org/officeDocument/2006/relationships/tags" Target="../tags/tag84.xml"/><Relationship Id="rId44" Type="http://schemas.openxmlformats.org/officeDocument/2006/relationships/tags" Target="../tags/tag97.xml"/><Relationship Id="rId52" Type="http://schemas.openxmlformats.org/officeDocument/2006/relationships/oleObject" Target="../embeddings/oleObject55.bin"/><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 Id="rId22" Type="http://schemas.openxmlformats.org/officeDocument/2006/relationships/tags" Target="../tags/tag75.xml"/><Relationship Id="rId27" Type="http://schemas.openxmlformats.org/officeDocument/2006/relationships/tags" Target="../tags/tag80.xml"/><Relationship Id="rId30" Type="http://schemas.openxmlformats.org/officeDocument/2006/relationships/tags" Target="../tags/tag83.xml"/><Relationship Id="rId35" Type="http://schemas.openxmlformats.org/officeDocument/2006/relationships/tags" Target="../tags/tag88.xml"/><Relationship Id="rId43" Type="http://schemas.openxmlformats.org/officeDocument/2006/relationships/tags" Target="../tags/tag96.xml"/><Relationship Id="rId48" Type="http://schemas.openxmlformats.org/officeDocument/2006/relationships/slideLayout" Target="../slideLayouts/slideLayout70.xml"/><Relationship Id="rId8" Type="http://schemas.openxmlformats.org/officeDocument/2006/relationships/tags" Target="../tags/tag61.xml"/><Relationship Id="rId51" Type="http://schemas.openxmlformats.org/officeDocument/2006/relationships/image" Target="../media/image4.emf"/><Relationship Id="rId3" Type="http://schemas.openxmlformats.org/officeDocument/2006/relationships/tags" Target="../tags/tag56.xml"/></Relationships>
</file>

<file path=ppt/slides/_rels/slide5.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tags" Target="../tags/tag102.xml"/><Relationship Id="rId7" Type="http://schemas.openxmlformats.org/officeDocument/2006/relationships/image" Target="../media/image21.png"/><Relationship Id="rId2" Type="http://schemas.openxmlformats.org/officeDocument/2006/relationships/tags" Target="../tags/tag101.xml"/><Relationship Id="rId1" Type="http://schemas.openxmlformats.org/officeDocument/2006/relationships/vmlDrawing" Target="../drawings/vmlDrawing55.vml"/><Relationship Id="rId6" Type="http://schemas.openxmlformats.org/officeDocument/2006/relationships/image" Target="../media/image4.emf"/><Relationship Id="rId5" Type="http://schemas.openxmlformats.org/officeDocument/2006/relationships/oleObject" Target="../embeddings/oleObject57.bin"/><Relationship Id="rId4" Type="http://schemas.openxmlformats.org/officeDocument/2006/relationships/slideLayout" Target="../slideLayouts/slideLayout70.xml"/></Relationships>
</file>

<file path=ppt/slides/_rels/slide6.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tags" Target="../tags/tag114.xml"/><Relationship Id="rId18" Type="http://schemas.openxmlformats.org/officeDocument/2006/relationships/tags" Target="../tags/tag119.xml"/><Relationship Id="rId26" Type="http://schemas.openxmlformats.org/officeDocument/2006/relationships/tags" Target="../tags/tag127.xml"/><Relationship Id="rId3" Type="http://schemas.openxmlformats.org/officeDocument/2006/relationships/tags" Target="../tags/tag104.xml"/><Relationship Id="rId21" Type="http://schemas.openxmlformats.org/officeDocument/2006/relationships/tags" Target="../tags/tag122.xml"/><Relationship Id="rId34" Type="http://schemas.openxmlformats.org/officeDocument/2006/relationships/image" Target="../media/image23.emf"/><Relationship Id="rId7" Type="http://schemas.openxmlformats.org/officeDocument/2006/relationships/tags" Target="../tags/tag108.xml"/><Relationship Id="rId12" Type="http://schemas.openxmlformats.org/officeDocument/2006/relationships/tags" Target="../tags/tag113.xml"/><Relationship Id="rId17" Type="http://schemas.openxmlformats.org/officeDocument/2006/relationships/tags" Target="../tags/tag118.xml"/><Relationship Id="rId25" Type="http://schemas.openxmlformats.org/officeDocument/2006/relationships/tags" Target="../tags/tag126.xml"/><Relationship Id="rId33" Type="http://schemas.openxmlformats.org/officeDocument/2006/relationships/oleObject" Target="../embeddings/oleObject59.bin"/><Relationship Id="rId2" Type="http://schemas.openxmlformats.org/officeDocument/2006/relationships/tags" Target="../tags/tag103.xml"/><Relationship Id="rId16" Type="http://schemas.openxmlformats.org/officeDocument/2006/relationships/tags" Target="../tags/tag117.xml"/><Relationship Id="rId20" Type="http://schemas.openxmlformats.org/officeDocument/2006/relationships/tags" Target="../tags/tag121.xml"/><Relationship Id="rId29" Type="http://schemas.openxmlformats.org/officeDocument/2006/relationships/notesSlide" Target="../notesSlides/notesSlide3.xml"/><Relationship Id="rId1" Type="http://schemas.openxmlformats.org/officeDocument/2006/relationships/vmlDrawing" Target="../drawings/vmlDrawing56.vml"/><Relationship Id="rId6" Type="http://schemas.openxmlformats.org/officeDocument/2006/relationships/tags" Target="../tags/tag107.xml"/><Relationship Id="rId11" Type="http://schemas.openxmlformats.org/officeDocument/2006/relationships/tags" Target="../tags/tag112.xml"/><Relationship Id="rId24" Type="http://schemas.openxmlformats.org/officeDocument/2006/relationships/tags" Target="../tags/tag125.xml"/><Relationship Id="rId32" Type="http://schemas.openxmlformats.org/officeDocument/2006/relationships/image" Target="../media/image22.jpeg"/><Relationship Id="rId5" Type="http://schemas.openxmlformats.org/officeDocument/2006/relationships/tags" Target="../tags/tag106.xml"/><Relationship Id="rId15" Type="http://schemas.openxmlformats.org/officeDocument/2006/relationships/tags" Target="../tags/tag116.xml"/><Relationship Id="rId23" Type="http://schemas.openxmlformats.org/officeDocument/2006/relationships/tags" Target="../tags/tag124.xml"/><Relationship Id="rId28" Type="http://schemas.openxmlformats.org/officeDocument/2006/relationships/slideLayout" Target="../slideLayouts/slideLayout70.xml"/><Relationship Id="rId10" Type="http://schemas.openxmlformats.org/officeDocument/2006/relationships/tags" Target="../tags/tag111.xml"/><Relationship Id="rId19" Type="http://schemas.openxmlformats.org/officeDocument/2006/relationships/tags" Target="../tags/tag120.xml"/><Relationship Id="rId31" Type="http://schemas.openxmlformats.org/officeDocument/2006/relationships/image" Target="../media/image4.emf"/><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tags" Target="../tags/tag115.xml"/><Relationship Id="rId22" Type="http://schemas.openxmlformats.org/officeDocument/2006/relationships/tags" Target="../tags/tag123.xml"/><Relationship Id="rId27" Type="http://schemas.openxmlformats.org/officeDocument/2006/relationships/tags" Target="../tags/tag128.xml"/><Relationship Id="rId30" Type="http://schemas.openxmlformats.org/officeDocument/2006/relationships/oleObject" Target="../embeddings/oleObject58.bin"/></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56.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8.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30.xml"/><Relationship Id="rId7" Type="http://schemas.openxmlformats.org/officeDocument/2006/relationships/image" Target="../media/image4.emf"/><Relationship Id="rId2" Type="http://schemas.openxmlformats.org/officeDocument/2006/relationships/tags" Target="../tags/tag129.xml"/><Relationship Id="rId1" Type="http://schemas.openxmlformats.org/officeDocument/2006/relationships/vmlDrawing" Target="../drawings/vmlDrawing57.vml"/><Relationship Id="rId6" Type="http://schemas.openxmlformats.org/officeDocument/2006/relationships/oleObject" Target="../embeddings/oleObject60.bin"/><Relationship Id="rId5" Type="http://schemas.openxmlformats.org/officeDocument/2006/relationships/notesSlide" Target="../notesSlides/notesSlide4.xml"/><Relationship Id="rId4"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5.xml"/><Relationship Id="rId1" Type="http://schemas.openxmlformats.org/officeDocument/2006/relationships/slideLayout" Target="../slideLayouts/slideLayout109.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 Id="rId9"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sz="6600" dirty="0"/>
              <a:t>3M™ RPM Series 290/190</a:t>
            </a:r>
            <a:br>
              <a:rPr lang="en-US" sz="6600" dirty="0"/>
            </a:br>
            <a:r>
              <a:rPr lang="en-US" sz="4400" dirty="0"/>
              <a:t>Sales Aid</a:t>
            </a:r>
            <a:endParaRPr lang="en-US" sz="4400" dirty="0">
              <a:effectLst>
                <a:outerShdw blurRad="50800" dist="38100" dir="5400000" algn="t" rotWithShape="0">
                  <a:prstClr val="black">
                    <a:alpha val="40000"/>
                  </a:prstClr>
                </a:outerShdw>
              </a:effectLst>
            </a:endParaRPr>
          </a:p>
        </p:txBody>
      </p:sp>
      <p:sp>
        <p:nvSpPr>
          <p:cNvPr id="4" name="Text Placeholder 3"/>
          <p:cNvSpPr>
            <a:spLocks noGrp="1"/>
          </p:cNvSpPr>
          <p:nvPr>
            <p:ph type="body" sz="quarter" idx="13"/>
          </p:nvPr>
        </p:nvSpPr>
        <p:spPr/>
        <p:txBody>
          <a:bodyPr/>
          <a:lstStyle/>
          <a:p>
            <a:r>
              <a:rPr lang="en-US" dirty="0"/>
              <a:t>Pavement Marking</a:t>
            </a:r>
          </a:p>
          <a:p>
            <a:r>
              <a:rPr lang="en-US" dirty="0"/>
              <a:t>Transportation Safety Division</a:t>
            </a:r>
          </a:p>
          <a:p>
            <a:endParaRPr lang="en-US" dirty="0"/>
          </a:p>
        </p:txBody>
      </p:sp>
      <p:sp>
        <p:nvSpPr>
          <p:cNvPr id="3" name="Text Placeholder 2"/>
          <p:cNvSpPr>
            <a:spLocks noGrp="1"/>
          </p:cNvSpPr>
          <p:nvPr>
            <p:ph type="body" sz="quarter" idx="10"/>
          </p:nvPr>
        </p:nvSpPr>
        <p:spPr/>
        <p:txBody>
          <a:bodyPr/>
          <a:lstStyle/>
          <a:p>
            <a:r>
              <a:rPr lang="en-US" dirty="0"/>
              <a:t>2018</a:t>
            </a:r>
          </a:p>
        </p:txBody>
      </p:sp>
      <p:sp>
        <p:nvSpPr>
          <p:cNvPr id="6" name="Text Placeholder 3"/>
          <p:cNvSpPr txBox="1">
            <a:spLocks/>
          </p:cNvSpPr>
          <p:nvPr/>
        </p:nvSpPr>
        <p:spPr>
          <a:xfrm>
            <a:off x="384048" y="5882399"/>
            <a:ext cx="9472598" cy="864848"/>
          </a:xfrm>
          <a:prstGeom prst="rect">
            <a:avLst/>
          </a:prstGeom>
        </p:spPr>
        <p:txBody>
          <a:bodyPr vert="horz" wrap="square" lIns="0" tIns="0" rIns="0" bIns="0" rtlCol="0" anchor="t" anchorCtr="0">
            <a:noAutofit/>
          </a:bodyPr>
          <a:lstStyle>
            <a:lvl1pPr marL="0" indent="0" algn="l" defTabSz="914400" rtl="0" eaLnBrk="1" latinLnBrk="0" hangingPunct="1">
              <a:lnSpc>
                <a:spcPct val="90000"/>
              </a:lnSpc>
              <a:spcBef>
                <a:spcPts val="0"/>
              </a:spcBef>
              <a:spcAft>
                <a:spcPts val="600"/>
              </a:spcAft>
              <a:buFont typeface="Arial" panose="020B0604020202020204" pitchFamily="34" charset="0"/>
              <a:buNone/>
              <a:defRPr lang="en-US" sz="2800" kern="1200">
                <a:solidFill>
                  <a:schemeClr val="bg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600" dirty="0"/>
          </a:p>
          <a:p>
            <a:endParaRPr lang="en-US" sz="1600" dirty="0"/>
          </a:p>
          <a:p>
            <a:r>
              <a:rPr lang="en-US" sz="1600" dirty="0"/>
              <a:t>Andrew Goodrich, Pavement Marking Global Marketer</a:t>
            </a:r>
          </a:p>
          <a:p>
            <a:endParaRPr lang="en-US" sz="1600" dirty="0"/>
          </a:p>
        </p:txBody>
      </p:sp>
    </p:spTree>
    <p:extLst>
      <p:ext uri="{BB962C8B-B14F-4D97-AF65-F5344CB8AC3E}">
        <p14:creationId xmlns:p14="http://schemas.microsoft.com/office/powerpoint/2010/main" val="3567024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ample RPM Specifications</a:t>
            </a:r>
          </a:p>
        </p:txBody>
      </p:sp>
      <p:sp>
        <p:nvSpPr>
          <p:cNvPr id="9" name="Text Placeholder 3"/>
          <p:cNvSpPr>
            <a:spLocks noGrp="1"/>
          </p:cNvSpPr>
          <p:nvPr>
            <p:ph type="body" sz="quarter" idx="10"/>
          </p:nvPr>
        </p:nvSpPr>
        <p:spPr>
          <a:xfrm>
            <a:off x="381000" y="841248"/>
            <a:ext cx="11430000" cy="365760"/>
          </a:xfrm>
        </p:spPr>
        <p:txBody>
          <a:bodyPr/>
          <a:lstStyle/>
          <a:p>
            <a:r>
              <a:rPr lang="en-US" sz="2000" dirty="0">
                <a:solidFill>
                  <a:schemeClr val="tx1">
                    <a:lumMod val="50000"/>
                    <a:lumOff val="50000"/>
                  </a:schemeClr>
                </a:solidFill>
              </a:rPr>
              <a:t>Standards vary around the globe but typically test reflectivity, color, and durability</a:t>
            </a:r>
          </a:p>
        </p:txBody>
      </p:sp>
      <p:graphicFrame>
        <p:nvGraphicFramePr>
          <p:cNvPr id="3" name="Table 2"/>
          <p:cNvGraphicFramePr>
            <a:graphicFrameLocks noGrp="1"/>
          </p:cNvGraphicFramePr>
          <p:nvPr>
            <p:extLst>
              <p:ext uri="{D42A27DB-BD31-4B8C-83A1-F6EECF244321}">
                <p14:modId xmlns:p14="http://schemas.microsoft.com/office/powerpoint/2010/main" val="1400937250"/>
              </p:ext>
            </p:extLst>
          </p:nvPr>
        </p:nvGraphicFramePr>
        <p:xfrm>
          <a:off x="379412" y="1372808"/>
          <a:ext cx="11693506" cy="4139155"/>
        </p:xfrm>
        <a:graphic>
          <a:graphicData uri="http://schemas.openxmlformats.org/drawingml/2006/table">
            <a:tbl>
              <a:tblPr firstRow="1" bandRow="1">
                <a:tableStyleId>{5940675A-B579-460E-94D1-54222C63F5DA}</a:tableStyleId>
              </a:tblPr>
              <a:tblGrid>
                <a:gridCol w="1817523">
                  <a:extLst>
                    <a:ext uri="{9D8B030D-6E8A-4147-A177-3AD203B41FA5}">
                      <a16:colId xmlns="" xmlns:a16="http://schemas.microsoft.com/office/drawing/2014/main" val="20000"/>
                    </a:ext>
                  </a:extLst>
                </a:gridCol>
                <a:gridCol w="2119151">
                  <a:extLst>
                    <a:ext uri="{9D8B030D-6E8A-4147-A177-3AD203B41FA5}">
                      <a16:colId xmlns="" xmlns:a16="http://schemas.microsoft.com/office/drawing/2014/main" val="20001"/>
                    </a:ext>
                  </a:extLst>
                </a:gridCol>
                <a:gridCol w="116840">
                  <a:extLst>
                    <a:ext uri="{9D8B030D-6E8A-4147-A177-3AD203B41FA5}">
                      <a16:colId xmlns="" xmlns:a16="http://schemas.microsoft.com/office/drawing/2014/main" val="20002"/>
                    </a:ext>
                  </a:extLst>
                </a:gridCol>
                <a:gridCol w="2131621">
                  <a:extLst>
                    <a:ext uri="{9D8B030D-6E8A-4147-A177-3AD203B41FA5}">
                      <a16:colId xmlns="" xmlns:a16="http://schemas.microsoft.com/office/drawing/2014/main" val="20003"/>
                    </a:ext>
                  </a:extLst>
                </a:gridCol>
                <a:gridCol w="2208810">
                  <a:extLst>
                    <a:ext uri="{9D8B030D-6E8A-4147-A177-3AD203B41FA5}">
                      <a16:colId xmlns="" xmlns:a16="http://schemas.microsoft.com/office/drawing/2014/main" val="20004"/>
                    </a:ext>
                  </a:extLst>
                </a:gridCol>
                <a:gridCol w="3299561">
                  <a:extLst>
                    <a:ext uri="{9D8B030D-6E8A-4147-A177-3AD203B41FA5}">
                      <a16:colId xmlns="" xmlns:a16="http://schemas.microsoft.com/office/drawing/2014/main" val="20005"/>
                    </a:ext>
                  </a:extLst>
                </a:gridCol>
              </a:tblGrid>
              <a:tr h="516673">
                <a:tc>
                  <a:txBody>
                    <a:bodyPr/>
                    <a:lstStyle/>
                    <a:p>
                      <a:pPr algn="ctr"/>
                      <a:r>
                        <a:rPr lang="en-US" sz="1400" dirty="0">
                          <a:latin typeface="+mj-lt"/>
                        </a:rPr>
                        <a:t>Standard and Primary Region</a:t>
                      </a:r>
                    </a:p>
                  </a:txBody>
                  <a:tcPr anchor="ctr"/>
                </a:tc>
                <a:tc gridSpan="3">
                  <a:txBody>
                    <a:bodyPr/>
                    <a:lstStyle/>
                    <a:p>
                      <a:pPr algn="ctr"/>
                      <a:r>
                        <a:rPr lang="en-US" sz="1400" dirty="0">
                          <a:latin typeface="+mj-lt"/>
                        </a:rPr>
                        <a:t>Lab test specifications</a:t>
                      </a:r>
                    </a:p>
                  </a:txBody>
                  <a:tcPr anchor="ctr"/>
                </a:tc>
                <a:tc hMerge="1">
                  <a:txBody>
                    <a:bodyPr/>
                    <a:lstStyle/>
                    <a:p>
                      <a:endParaRPr lang="en-US"/>
                    </a:p>
                  </a:txBody>
                  <a:tcPr/>
                </a:tc>
                <a:tc hMerge="1">
                  <a:txBody>
                    <a:bodyPr/>
                    <a:lstStyle/>
                    <a:p>
                      <a:endParaRPr lang="en-US"/>
                    </a:p>
                  </a:txBody>
                  <a:tcPr/>
                </a:tc>
                <a:tc>
                  <a:txBody>
                    <a:bodyPr/>
                    <a:lstStyle/>
                    <a:p>
                      <a:pPr algn="ctr"/>
                      <a:r>
                        <a:rPr lang="en-US" sz="1400" dirty="0">
                          <a:latin typeface="+mj-lt"/>
                        </a:rPr>
                        <a:t>On road</a:t>
                      </a:r>
                      <a:r>
                        <a:rPr lang="en-US" sz="1400" baseline="0" dirty="0">
                          <a:latin typeface="+mj-lt"/>
                        </a:rPr>
                        <a:t> specifications</a:t>
                      </a:r>
                      <a:endParaRPr lang="en-US" sz="1400" dirty="0">
                        <a:latin typeface="+mj-lt"/>
                      </a:endParaRPr>
                    </a:p>
                  </a:txBody>
                  <a:tcPr anchor="ctr"/>
                </a:tc>
                <a:tc>
                  <a:txBody>
                    <a:bodyPr/>
                    <a:lstStyle/>
                    <a:p>
                      <a:pPr algn="ctr"/>
                      <a:r>
                        <a:rPr lang="en-US" sz="1400" dirty="0">
                          <a:latin typeface="+mj-lt"/>
                        </a:rPr>
                        <a:t>Comments</a:t>
                      </a:r>
                    </a:p>
                  </a:txBody>
                  <a:tcPr anchor="ctr"/>
                </a:tc>
                <a:extLst>
                  <a:ext uri="{0D108BD9-81ED-4DB2-BD59-A6C34878D82A}">
                    <a16:rowId xmlns="" xmlns:a16="http://schemas.microsoft.com/office/drawing/2014/main" val="10000"/>
                  </a:ext>
                </a:extLst>
              </a:tr>
              <a:tr h="1070509">
                <a:tc>
                  <a:txBody>
                    <a:bodyPr/>
                    <a:lstStyle/>
                    <a:p>
                      <a:pPr algn="ctr"/>
                      <a:r>
                        <a:rPr lang="en-US" sz="1400" dirty="0">
                          <a:latin typeface="3M Circular TT Book" panose="020B0604020101020102" pitchFamily="34" charset="0"/>
                          <a:cs typeface="3M Circular TT Book" panose="020B0604020101020102" pitchFamily="34" charset="0"/>
                        </a:rPr>
                        <a:t>ASTM D4280</a:t>
                      </a:r>
                      <a:r>
                        <a:rPr lang="en-US" sz="1400" baseline="0" dirty="0">
                          <a:latin typeface="3M Circular TT Book" panose="020B0604020101020102" pitchFamily="34" charset="0"/>
                          <a:cs typeface="3M Circular TT Book" panose="020B0604020101020102" pitchFamily="34" charset="0"/>
                        </a:rPr>
                        <a:t> / D4383</a:t>
                      </a:r>
                    </a:p>
                    <a:p>
                      <a:pPr algn="ctr"/>
                      <a:endParaRPr lang="en-US" sz="1400" baseline="0" dirty="0">
                        <a:latin typeface="3M Circular TT Book" panose="020B0604020101020102" pitchFamily="34" charset="0"/>
                        <a:cs typeface="3M Circular TT Book" panose="020B0604020101020102" pitchFamily="34" charset="0"/>
                      </a:endParaRPr>
                    </a:p>
                    <a:p>
                      <a:pPr algn="ctr"/>
                      <a:r>
                        <a:rPr lang="en-US" sz="1400" baseline="0" dirty="0">
                          <a:latin typeface="3M Circular TT Book" panose="020B0604020101020102" pitchFamily="34" charset="0"/>
                          <a:cs typeface="3M Circular TT Book" panose="020B0604020101020102" pitchFamily="34" charset="0"/>
                        </a:rPr>
                        <a:t>United States</a:t>
                      </a:r>
                      <a:endParaRPr lang="en-US" sz="1400" dirty="0">
                        <a:latin typeface="3M Circular TT Book" panose="020B0604020101020102" pitchFamily="34" charset="0"/>
                        <a:cs typeface="3M Circular TT Book" panose="020B0604020101020102" pitchFamily="34" charset="0"/>
                      </a:endParaRPr>
                    </a:p>
                  </a:txBody>
                  <a:tcPr anchor="ctr"/>
                </a:tc>
                <a:tc>
                  <a:txBody>
                    <a:bodyPr/>
                    <a:lstStyle/>
                    <a:p>
                      <a:pPr marL="166688" indent="-166688" algn="l">
                        <a:buFont typeface="Wingdings" panose="05000000000000000000" pitchFamily="2" charset="2"/>
                        <a:buChar char="§"/>
                      </a:pPr>
                      <a:r>
                        <a:rPr lang="en-US" sz="1400" dirty="0">
                          <a:latin typeface="3M Circular TT Light" panose="020B0404020101020102" pitchFamily="34" charset="0"/>
                          <a:cs typeface="3M Circular TT Light" panose="020B0404020101020102" pitchFamily="34" charset="0"/>
                        </a:rPr>
                        <a:t>Size &amp; Construction</a:t>
                      </a:r>
                    </a:p>
                    <a:p>
                      <a:pPr marL="166688" indent="-166688" algn="l">
                        <a:buFont typeface="Wingdings" panose="05000000000000000000" pitchFamily="2" charset="2"/>
                        <a:buChar char="§"/>
                      </a:pPr>
                      <a:r>
                        <a:rPr lang="en-US" sz="1400" dirty="0">
                          <a:latin typeface="3M Circular TT Light" panose="020B0404020101020102" pitchFamily="34" charset="0"/>
                          <a:cs typeface="3M Circular TT Light" panose="020B0404020101020102" pitchFamily="34" charset="0"/>
                        </a:rPr>
                        <a:t>Reflectivity,</a:t>
                      </a:r>
                      <a:r>
                        <a:rPr lang="en-US" sz="1400" baseline="0" dirty="0">
                          <a:latin typeface="3M Circular TT Light" panose="020B0404020101020102" pitchFamily="34" charset="0"/>
                          <a:cs typeface="3M Circular TT Light" panose="020B0404020101020102" pitchFamily="34" charset="0"/>
                        </a:rPr>
                        <a:t> Initial</a:t>
                      </a:r>
                    </a:p>
                    <a:p>
                      <a:pPr marL="166688" indent="-166688" algn="l">
                        <a:buFont typeface="Wingdings" panose="05000000000000000000" pitchFamily="2" charset="2"/>
                        <a:buChar char="§"/>
                      </a:pPr>
                      <a:r>
                        <a:rPr lang="en-US" sz="1400" baseline="0" dirty="0">
                          <a:latin typeface="3M Circular TT Light" panose="020B0404020101020102" pitchFamily="34" charset="0"/>
                          <a:cs typeface="3M Circular TT Light" panose="020B0404020101020102" pitchFamily="34" charset="0"/>
                        </a:rPr>
                        <a:t>Reflectivity, post abrasion</a:t>
                      </a:r>
                    </a:p>
                    <a:p>
                      <a:pPr marL="166688" indent="-166688" algn="l">
                        <a:buFont typeface="Wingdings" panose="05000000000000000000" pitchFamily="2" charset="2"/>
                        <a:buChar char="§"/>
                      </a:pPr>
                      <a:r>
                        <a:rPr lang="en-US" sz="1400" baseline="0" dirty="0">
                          <a:latin typeface="3M Circular TT Light" panose="020B0404020101020102" pitchFamily="34" charset="0"/>
                          <a:cs typeface="3M Circular TT Light" panose="020B0404020101020102" pitchFamily="34" charset="0"/>
                        </a:rPr>
                        <a:t>Flexural strength</a:t>
                      </a:r>
                      <a:endParaRPr lang="en-US" sz="1400" dirty="0">
                        <a:latin typeface="3M Circular TT Light" panose="020B0404020101020102" pitchFamily="34" charset="0"/>
                        <a:cs typeface="3M Circular TT Light" panose="020B0404020101020102" pitchFamily="34" charset="0"/>
                      </a:endParaRPr>
                    </a:p>
                  </a:txBody>
                  <a:tcPr anchor="ctr">
                    <a:lnR w="12700" cap="flat" cmpd="sng" algn="ctr">
                      <a:noFill/>
                      <a:prstDash val="solid"/>
                      <a:round/>
                      <a:headEnd type="none" w="med" len="med"/>
                      <a:tailEnd type="none" w="med" len="med"/>
                    </a:lnR>
                  </a:tcPr>
                </a:tc>
                <a:tc gridSpan="2">
                  <a:txBody>
                    <a:bodyPr/>
                    <a:lstStyle/>
                    <a:p>
                      <a:pPr marL="171450" indent="-171450" algn="l">
                        <a:buFont typeface="Wingdings" panose="05000000000000000000" pitchFamily="2" charset="2"/>
                        <a:buChar char="§"/>
                      </a:pPr>
                      <a:r>
                        <a:rPr lang="en-US" sz="1400" dirty="0">
                          <a:latin typeface="3M Circular TT Light" panose="020B0404020101020102" pitchFamily="34" charset="0"/>
                          <a:cs typeface="3M Circular TT Light" panose="020B0404020101020102" pitchFamily="34" charset="0"/>
                        </a:rPr>
                        <a:t>Compressive strength</a:t>
                      </a:r>
                    </a:p>
                    <a:p>
                      <a:pPr marL="171450" indent="-171450" algn="l">
                        <a:buFont typeface="Wingdings" panose="05000000000000000000" pitchFamily="2" charset="2"/>
                        <a:buChar char="§"/>
                      </a:pPr>
                      <a:r>
                        <a:rPr lang="en-US" sz="1400" dirty="0">
                          <a:latin typeface="3M Circular TT Light" panose="020B0404020101020102" pitchFamily="34" charset="0"/>
                          <a:cs typeface="3M Circular TT Light" panose="020B0404020101020102" pitchFamily="34" charset="0"/>
                        </a:rPr>
                        <a:t>Color</a:t>
                      </a:r>
                    </a:p>
                    <a:p>
                      <a:pPr marL="171450" indent="-171450" algn="l">
                        <a:buFont typeface="Wingdings" panose="05000000000000000000" pitchFamily="2" charset="2"/>
                        <a:buChar char="§"/>
                      </a:pPr>
                      <a:r>
                        <a:rPr lang="en-US" sz="1400" dirty="0">
                          <a:latin typeface="3M Circular TT Light" panose="020B0404020101020102" pitchFamily="34" charset="0"/>
                          <a:cs typeface="3M Circular TT Light" panose="020B0404020101020102" pitchFamily="34" charset="0"/>
                        </a:rPr>
                        <a:t>Lens impact strength</a:t>
                      </a:r>
                    </a:p>
                    <a:p>
                      <a:pPr marL="171450" indent="-171450" algn="l">
                        <a:buFont typeface="Wingdings" panose="05000000000000000000" pitchFamily="2" charset="2"/>
                        <a:buChar char="§"/>
                      </a:pPr>
                      <a:r>
                        <a:rPr lang="en-US" sz="1400" dirty="0">
                          <a:latin typeface="3M Circular TT Light" panose="020B0404020101020102" pitchFamily="34" charset="0"/>
                          <a:cs typeface="3M Circular TT Light" panose="020B0404020101020102" pitchFamily="34" charset="0"/>
                        </a:rPr>
                        <a:t>Temperature cycling</a:t>
                      </a:r>
                    </a:p>
                  </a:txBody>
                  <a:tcPr anchor="ctr">
                    <a:lnL w="12700" cap="flat" cmpd="sng" algn="ctr">
                      <a:noFill/>
                      <a:prstDash val="solid"/>
                      <a:round/>
                      <a:headEnd type="none" w="med" len="med"/>
                      <a:tailEnd type="none" w="med" len="med"/>
                    </a:lnL>
                  </a:tcPr>
                </a:tc>
                <a:tc hMerge="1">
                  <a:txBody>
                    <a:bodyPr/>
                    <a:lstStyle/>
                    <a:p>
                      <a:endParaRPr lang="en-US"/>
                    </a:p>
                  </a:txBody>
                  <a:tcPr/>
                </a:tc>
                <a:tc>
                  <a:txBody>
                    <a:bodyPr/>
                    <a:lstStyle/>
                    <a:p>
                      <a:pPr algn="ctr"/>
                      <a:r>
                        <a:rPr lang="en-US" sz="1400" dirty="0">
                          <a:latin typeface="3M Circular TT Light" panose="020B0404020101020102" pitchFamily="34" charset="0"/>
                          <a:cs typeface="3M Circular TT Light" panose="020B0404020101020102" pitchFamily="34" charset="0"/>
                        </a:rPr>
                        <a:t>None</a:t>
                      </a:r>
                    </a:p>
                  </a:txBody>
                  <a:tcPr anchor="ctr"/>
                </a:tc>
                <a:tc>
                  <a:txBody>
                    <a:bodyPr/>
                    <a:lstStyle/>
                    <a:p>
                      <a:pPr marL="0" indent="0" algn="l">
                        <a:buFont typeface="Wingdings" panose="05000000000000000000" pitchFamily="2" charset="2"/>
                        <a:buNone/>
                      </a:pPr>
                      <a:r>
                        <a:rPr lang="en-US" sz="1400" dirty="0">
                          <a:latin typeface="3M Circular TT Light" panose="020B0404020101020102" pitchFamily="34" charset="0"/>
                          <a:cs typeface="3M Circular TT Light" panose="020B0404020101020102" pitchFamily="34" charset="0"/>
                        </a:rPr>
                        <a:t>Most</a:t>
                      </a:r>
                      <a:r>
                        <a:rPr lang="en-US" sz="1400" baseline="0" dirty="0">
                          <a:latin typeface="3M Circular TT Light" panose="020B0404020101020102" pitchFamily="34" charset="0"/>
                          <a:cs typeface="3M Circular TT Light" panose="020B0404020101020102" pitchFamily="34" charset="0"/>
                        </a:rPr>
                        <a:t> competitors meet minimum performance levels in standard resulting in price pressure</a:t>
                      </a:r>
                    </a:p>
                  </a:txBody>
                  <a:tcPr anchor="ctr"/>
                </a:tc>
                <a:extLst>
                  <a:ext uri="{0D108BD9-81ED-4DB2-BD59-A6C34878D82A}">
                    <a16:rowId xmlns="" xmlns:a16="http://schemas.microsoft.com/office/drawing/2014/main" val="10001"/>
                  </a:ext>
                </a:extLst>
              </a:tr>
              <a:tr h="1267709">
                <a:tc>
                  <a:txBody>
                    <a:bodyPr/>
                    <a:lstStyle/>
                    <a:p>
                      <a:pPr algn="ctr"/>
                      <a:r>
                        <a:rPr lang="en-US" sz="1400" dirty="0"/>
                        <a:t>BS</a:t>
                      </a:r>
                      <a:r>
                        <a:rPr lang="en-US" sz="1400" baseline="0" dirty="0"/>
                        <a:t> EN1463-1 / EN1462-2</a:t>
                      </a:r>
                    </a:p>
                    <a:p>
                      <a:pPr algn="ctr"/>
                      <a:endParaRPr lang="en-US" sz="1400" baseline="0" dirty="0"/>
                    </a:p>
                    <a:p>
                      <a:pPr algn="ctr"/>
                      <a:r>
                        <a:rPr lang="en-US" sz="1400" baseline="0" dirty="0"/>
                        <a:t>Europe</a:t>
                      </a:r>
                      <a:endParaRPr lang="en-US" sz="1400" dirty="0"/>
                    </a:p>
                  </a:txBody>
                  <a:tcPr anchor="ctr"/>
                </a:tc>
                <a:tc gridSpan="3">
                  <a:txBody>
                    <a:bodyPr/>
                    <a:lstStyle/>
                    <a:p>
                      <a:pPr marL="166688" indent="-166688" algn="l">
                        <a:buFont typeface="Wingdings" panose="05000000000000000000" pitchFamily="2" charset="2"/>
                        <a:buChar char="§"/>
                      </a:pPr>
                      <a:r>
                        <a:rPr lang="en-US" sz="1400" dirty="0">
                          <a:latin typeface="3M Circular TT Light" panose="020B0404020101020102" pitchFamily="34" charset="0"/>
                          <a:cs typeface="3M Circular TT Light" panose="020B0404020101020102" pitchFamily="34" charset="0"/>
                        </a:rPr>
                        <a:t>Type and Description</a:t>
                      </a:r>
                    </a:p>
                    <a:p>
                      <a:pPr marL="166688" indent="-166688" algn="l">
                        <a:buFont typeface="Wingdings" panose="05000000000000000000" pitchFamily="2" charset="2"/>
                        <a:buChar char="§"/>
                      </a:pPr>
                      <a:r>
                        <a:rPr lang="en-US" sz="1400" dirty="0">
                          <a:latin typeface="3M Circular TT Light" panose="020B0404020101020102" pitchFamily="34" charset="0"/>
                          <a:cs typeface="3M Circular TT Light" panose="020B0404020101020102" pitchFamily="34" charset="0"/>
                        </a:rPr>
                        <a:t>Dimensions:</a:t>
                      </a:r>
                      <a:r>
                        <a:rPr lang="en-US" sz="1400" baseline="0" dirty="0">
                          <a:latin typeface="3M Circular TT Light" panose="020B0404020101020102" pitchFamily="34" charset="0"/>
                          <a:cs typeface="3M Circular TT Light" panose="020B0404020101020102" pitchFamily="34" charset="0"/>
                        </a:rPr>
                        <a:t> height and size</a:t>
                      </a:r>
                    </a:p>
                    <a:p>
                      <a:pPr marL="166688" indent="-166688" algn="l">
                        <a:buFont typeface="Wingdings" panose="05000000000000000000" pitchFamily="2" charset="2"/>
                        <a:buChar char="§"/>
                      </a:pPr>
                      <a:r>
                        <a:rPr lang="en-US" sz="1400" baseline="0" dirty="0">
                          <a:latin typeface="3M Circular TT Light" panose="020B0404020101020102" pitchFamily="34" charset="0"/>
                          <a:cs typeface="3M Circular TT Light" panose="020B0404020101020102" pitchFamily="34" charset="0"/>
                        </a:rPr>
                        <a:t>Reflectivity, initial</a:t>
                      </a:r>
                    </a:p>
                    <a:p>
                      <a:pPr marL="166688" indent="-166688" algn="l">
                        <a:buFont typeface="Wingdings" panose="05000000000000000000" pitchFamily="2" charset="2"/>
                        <a:buChar char="§"/>
                      </a:pPr>
                      <a:r>
                        <a:rPr lang="en-US" sz="1400" baseline="0" dirty="0">
                          <a:latin typeface="3M Circular TT Light" panose="020B0404020101020102" pitchFamily="34" charset="0"/>
                          <a:cs typeface="3M Circular TT Light" panose="020B0404020101020102" pitchFamily="34" charset="0"/>
                        </a:rPr>
                        <a:t>Color</a:t>
                      </a:r>
                      <a:endParaRPr lang="en-US" sz="1400" dirty="0">
                        <a:latin typeface="3M Circular TT Light" panose="020B0404020101020102" pitchFamily="34" charset="0"/>
                        <a:cs typeface="3M Circular TT Light" panose="020B0404020101020102" pitchFamily="34" charset="0"/>
                      </a:endParaRPr>
                    </a:p>
                  </a:txBody>
                  <a:tcPr anchor="ctr"/>
                </a:tc>
                <a:tc hMerge="1">
                  <a:txBody>
                    <a:bodyPr/>
                    <a:lstStyle/>
                    <a:p>
                      <a:endParaRPr lang="en-US"/>
                    </a:p>
                  </a:txBody>
                  <a:tcPr/>
                </a:tc>
                <a:tc hMerge="1">
                  <a:txBody>
                    <a:bodyPr/>
                    <a:lstStyle/>
                    <a:p>
                      <a:endParaRPr lang="en-US"/>
                    </a:p>
                  </a:txBody>
                  <a:tcPr/>
                </a:tc>
                <a:tc>
                  <a:txBody>
                    <a:bodyPr/>
                    <a:lstStyle/>
                    <a:p>
                      <a:pPr marL="171450" indent="-171450" algn="l">
                        <a:buFont typeface="Wingdings" panose="05000000000000000000" pitchFamily="2" charset="2"/>
                        <a:buChar char="§"/>
                      </a:pPr>
                      <a:r>
                        <a:rPr lang="en-US" sz="1400" dirty="0">
                          <a:latin typeface="3M Circular TT Light" panose="020B0404020101020102" pitchFamily="34" charset="0"/>
                          <a:cs typeface="3M Circular TT Light" panose="020B0404020101020102" pitchFamily="34" charset="0"/>
                        </a:rPr>
                        <a:t># of road studs remaining</a:t>
                      </a:r>
                      <a:r>
                        <a:rPr lang="en-US" sz="1400" baseline="0" dirty="0">
                          <a:latin typeface="3M Circular TT Light" panose="020B0404020101020102" pitchFamily="34" charset="0"/>
                          <a:cs typeface="3M Circular TT Light" panose="020B0404020101020102" pitchFamily="34" charset="0"/>
                        </a:rPr>
                        <a:t> after 12 months on the road</a:t>
                      </a:r>
                    </a:p>
                    <a:p>
                      <a:pPr marL="0" indent="0" algn="l">
                        <a:buFont typeface="Wingdings" panose="05000000000000000000" pitchFamily="2" charset="2"/>
                        <a:buNone/>
                      </a:pPr>
                      <a:endParaRPr lang="en-US" sz="1400" baseline="0" dirty="0">
                        <a:latin typeface="3M Circular TT Light" panose="020B0404020101020102" pitchFamily="34" charset="0"/>
                        <a:cs typeface="3M Circular TT Light" panose="020B0404020101020102" pitchFamily="34" charset="0"/>
                      </a:endParaRPr>
                    </a:p>
                    <a:p>
                      <a:pPr marL="171450" indent="-171450" algn="l">
                        <a:buFont typeface="Wingdings" panose="05000000000000000000" pitchFamily="2" charset="2"/>
                        <a:buChar char="§"/>
                      </a:pPr>
                      <a:r>
                        <a:rPr lang="en-US" sz="1400" baseline="0" dirty="0">
                          <a:latin typeface="3M Circular TT Light" panose="020B0404020101020102" pitchFamily="34" charset="0"/>
                          <a:cs typeface="3M Circular TT Light" panose="020B0404020101020102" pitchFamily="34" charset="0"/>
                        </a:rPr>
                        <a:t>Reflectivity after 12 months on the road</a:t>
                      </a:r>
                      <a:endParaRPr lang="en-US" sz="1400" dirty="0">
                        <a:latin typeface="3M Circular TT Light" panose="020B0404020101020102" pitchFamily="34" charset="0"/>
                        <a:cs typeface="3M Circular TT Light" panose="020B0404020101020102" pitchFamily="34" charset="0"/>
                      </a:endParaRPr>
                    </a:p>
                  </a:txBody>
                  <a:tcPr anchor="ctr"/>
                </a:tc>
                <a:tc>
                  <a:txBody>
                    <a:bodyPr/>
                    <a:lstStyle/>
                    <a:p>
                      <a:pPr algn="l"/>
                      <a:r>
                        <a:rPr lang="en-US" sz="1400" dirty="0">
                          <a:latin typeface="3M Circular TT Light" panose="020B0404020101020102" pitchFamily="34" charset="0"/>
                          <a:cs typeface="3M Circular TT Light" panose="020B0404020101020102" pitchFamily="34" charset="0"/>
                        </a:rPr>
                        <a:t>Performance levels are</a:t>
                      </a:r>
                      <a:r>
                        <a:rPr lang="en-US" sz="1400" baseline="0" dirty="0">
                          <a:latin typeface="3M Circular TT Light" panose="020B0404020101020102" pitchFamily="34" charset="0"/>
                          <a:cs typeface="3M Circular TT Light" panose="020B0404020101020102" pitchFamily="34" charset="0"/>
                        </a:rPr>
                        <a:t> low but on road test demonstrates 3M’s durability value proposition</a:t>
                      </a:r>
                      <a:endParaRPr lang="en-US" sz="1400" dirty="0">
                        <a:latin typeface="3M Circular TT Light" panose="020B0404020101020102" pitchFamily="34" charset="0"/>
                        <a:cs typeface="3M Circular TT Light" panose="020B0404020101020102" pitchFamily="34" charset="0"/>
                      </a:endParaRPr>
                    </a:p>
                  </a:txBody>
                  <a:tcPr anchor="ctr"/>
                </a:tc>
                <a:extLst>
                  <a:ext uri="{0D108BD9-81ED-4DB2-BD59-A6C34878D82A}">
                    <a16:rowId xmlns="" xmlns:a16="http://schemas.microsoft.com/office/drawing/2014/main" val="10002"/>
                  </a:ext>
                </a:extLst>
              </a:tr>
              <a:tr h="1091155">
                <a:tc>
                  <a:txBody>
                    <a:bodyPr/>
                    <a:lstStyle/>
                    <a:p>
                      <a:pPr algn="ctr"/>
                      <a:r>
                        <a:rPr lang="en-US" sz="1400" dirty="0"/>
                        <a:t>ABNT NBR 1436-13</a:t>
                      </a:r>
                    </a:p>
                    <a:p>
                      <a:pPr algn="ctr"/>
                      <a:endParaRPr lang="en-US" sz="1400" dirty="0"/>
                    </a:p>
                    <a:p>
                      <a:pPr algn="ctr"/>
                      <a:r>
                        <a:rPr lang="en-US" sz="1400" dirty="0"/>
                        <a:t>Brazil</a:t>
                      </a:r>
                    </a:p>
                  </a:txBody>
                  <a:tcPr anchor="ctr"/>
                </a:tc>
                <a:tc gridSpan="2">
                  <a:txBody>
                    <a:bodyPr/>
                    <a:lstStyle/>
                    <a:p>
                      <a:pPr marL="171450" indent="-171450" algn="l">
                        <a:buFont typeface="Wingdings" panose="05000000000000000000" pitchFamily="2" charset="2"/>
                        <a:buChar char="§"/>
                      </a:pPr>
                      <a:r>
                        <a:rPr lang="en-US" sz="1400" dirty="0">
                          <a:latin typeface="3M Circular TT Light" panose="020B0404020101020102" pitchFamily="34" charset="0"/>
                          <a:cs typeface="3M Circular TT Light" panose="020B0404020101020102" pitchFamily="34" charset="0"/>
                        </a:rPr>
                        <a:t>Reflectivity,</a:t>
                      </a:r>
                      <a:r>
                        <a:rPr lang="en-US" sz="1400" baseline="0" dirty="0">
                          <a:latin typeface="3M Circular TT Light" panose="020B0404020101020102" pitchFamily="34" charset="0"/>
                          <a:cs typeface="3M Circular TT Light" panose="020B0404020101020102" pitchFamily="34" charset="0"/>
                        </a:rPr>
                        <a:t> Initial</a:t>
                      </a:r>
                    </a:p>
                    <a:p>
                      <a:pPr marL="171450" indent="-171450" algn="l">
                        <a:buFont typeface="Wingdings" panose="05000000000000000000" pitchFamily="2" charset="2"/>
                        <a:buChar char="§"/>
                      </a:pPr>
                      <a:r>
                        <a:rPr lang="en-US" sz="1400" baseline="0" dirty="0">
                          <a:latin typeface="3M Circular TT Light" panose="020B0404020101020102" pitchFamily="34" charset="0"/>
                          <a:cs typeface="3M Circular TT Light" panose="020B0404020101020102" pitchFamily="34" charset="0"/>
                        </a:rPr>
                        <a:t>Reflective element type</a:t>
                      </a:r>
                    </a:p>
                    <a:p>
                      <a:pPr marL="171450" indent="-171450" algn="l">
                        <a:buFont typeface="Wingdings" panose="05000000000000000000" pitchFamily="2" charset="2"/>
                        <a:buChar char="§"/>
                      </a:pPr>
                      <a:r>
                        <a:rPr lang="en-US" sz="1400" baseline="0" dirty="0">
                          <a:latin typeface="3M Circular TT Light" panose="020B0404020101020102" pitchFamily="34" charset="0"/>
                          <a:cs typeface="3M Circular TT Light" panose="020B0404020101020102" pitchFamily="34" charset="0"/>
                        </a:rPr>
                        <a:t>Body Type</a:t>
                      </a:r>
                    </a:p>
                    <a:p>
                      <a:pPr marL="171450" indent="-171450" algn="l">
                        <a:buFont typeface="Wingdings" panose="05000000000000000000" pitchFamily="2" charset="2"/>
                        <a:buChar char="§"/>
                      </a:pPr>
                      <a:r>
                        <a:rPr lang="en-US" sz="1400" baseline="0" dirty="0">
                          <a:latin typeface="3M Circular TT Light" panose="020B0404020101020102" pitchFamily="34" charset="0"/>
                          <a:cs typeface="3M Circular TT Light" panose="020B0404020101020102" pitchFamily="34" charset="0"/>
                        </a:rPr>
                        <a:t>Construction Type</a:t>
                      </a:r>
                    </a:p>
                  </a:txBody>
                  <a:tcPr anchor="ctr">
                    <a:lnR w="12700" cap="flat" cmpd="sng" algn="ctr">
                      <a:noFill/>
                      <a:prstDash val="solid"/>
                      <a:round/>
                      <a:headEnd type="none" w="med" len="med"/>
                      <a:tailEnd type="none" w="med" len="med"/>
                    </a:lnR>
                  </a:tcPr>
                </a:tc>
                <a:tc hMerge="1">
                  <a:txBody>
                    <a:bodyPr/>
                    <a:lstStyle/>
                    <a:p>
                      <a:endParaRPr lang="en-US"/>
                    </a:p>
                  </a:txBody>
                  <a:tcPr/>
                </a:tc>
                <a:tc>
                  <a:txBody>
                    <a:bodyPr/>
                    <a:lstStyle/>
                    <a:p>
                      <a:pPr marL="171450" indent="-171450" algn="l">
                        <a:buFont typeface="Wingdings" panose="05000000000000000000" pitchFamily="2" charset="2"/>
                        <a:buChar char="§"/>
                      </a:pPr>
                      <a:r>
                        <a:rPr lang="en-US" sz="1400" baseline="0" dirty="0">
                          <a:latin typeface="3M Circular TT Light" panose="020B0404020101020102" pitchFamily="34" charset="0"/>
                          <a:cs typeface="3M Circular TT Light" panose="020B0404020101020102" pitchFamily="34" charset="0"/>
                        </a:rPr>
                        <a:t>Fixation: Spike or no Spike</a:t>
                      </a:r>
                    </a:p>
                    <a:p>
                      <a:pPr marL="171450" indent="-171450" algn="l">
                        <a:buFont typeface="Wingdings" panose="05000000000000000000" pitchFamily="2" charset="2"/>
                        <a:buChar char="§"/>
                      </a:pPr>
                      <a:r>
                        <a:rPr lang="en-US" sz="1400" baseline="0" dirty="0">
                          <a:latin typeface="3M Circular TT Light" panose="020B0404020101020102" pitchFamily="34" charset="0"/>
                          <a:cs typeface="3M Circular TT Light" panose="020B0404020101020102" pitchFamily="34" charset="0"/>
                        </a:rPr>
                        <a:t>Color</a:t>
                      </a:r>
                    </a:p>
                    <a:p>
                      <a:pPr marL="171450" indent="-171450" algn="l">
                        <a:buFont typeface="Wingdings" panose="05000000000000000000" pitchFamily="2" charset="2"/>
                        <a:buChar char="§"/>
                      </a:pPr>
                      <a:r>
                        <a:rPr lang="en-US" sz="1400" baseline="0" dirty="0">
                          <a:latin typeface="3M Circular TT Light" panose="020B0404020101020102" pitchFamily="34" charset="0"/>
                          <a:cs typeface="3M Circular TT Light" panose="020B0404020101020102" pitchFamily="34" charset="0"/>
                        </a:rPr>
                        <a:t>Impact Resistance</a:t>
                      </a:r>
                      <a:endParaRPr lang="en-US" sz="1400" dirty="0">
                        <a:latin typeface="3M Circular TT Light" panose="020B0404020101020102" pitchFamily="34" charset="0"/>
                        <a:cs typeface="3M Circular TT Light" panose="020B0404020101020102" pitchFamily="34" charset="0"/>
                      </a:endParaRPr>
                    </a:p>
                  </a:txBody>
                  <a:tcPr anchor="ctr">
                    <a:lnL w="12700" cap="flat" cmpd="sng" algn="ctr">
                      <a:noFill/>
                      <a:prstDash val="solid"/>
                      <a:round/>
                      <a:headEnd type="none" w="med" len="med"/>
                      <a:tailEnd type="none" w="med" len="med"/>
                    </a:lnL>
                  </a:tcPr>
                </a:tc>
                <a:tc>
                  <a:txBody>
                    <a:bodyPr/>
                    <a:lstStyle/>
                    <a:p>
                      <a:pPr marL="166688" indent="-166688" algn="l">
                        <a:buFont typeface="Wingdings" panose="05000000000000000000" pitchFamily="2" charset="2"/>
                        <a:buChar char="§"/>
                      </a:pPr>
                      <a:r>
                        <a:rPr lang="en-US" sz="1400" dirty="0">
                          <a:latin typeface="3M Circular TT Light" panose="020B0404020101020102" pitchFamily="34" charset="0"/>
                          <a:cs typeface="3M Circular TT Light" panose="020B0404020101020102" pitchFamily="34" charset="0"/>
                        </a:rPr>
                        <a:t>Reflectivity after #</a:t>
                      </a:r>
                      <a:r>
                        <a:rPr lang="en-US" sz="1400" baseline="0" dirty="0">
                          <a:latin typeface="3M Circular TT Light" panose="020B0404020101020102" pitchFamily="34" charset="0"/>
                          <a:cs typeface="3M Circular TT Light" panose="020B0404020101020102" pitchFamily="34" charset="0"/>
                        </a:rPr>
                        <a:t> of months depending on type of RPM and AADT</a:t>
                      </a:r>
                      <a:endParaRPr lang="en-US" sz="1400" dirty="0">
                        <a:latin typeface="3M Circular TT Light" panose="020B0404020101020102" pitchFamily="34" charset="0"/>
                        <a:cs typeface="3M Circular TT Light" panose="020B0404020101020102" pitchFamily="34" charset="0"/>
                      </a:endParaRPr>
                    </a:p>
                  </a:txBody>
                  <a:tcPr anchor="ctr"/>
                </a:tc>
                <a:tc>
                  <a:txBody>
                    <a:bodyPr/>
                    <a:lstStyle/>
                    <a:p>
                      <a:pPr marL="0" indent="0" algn="l">
                        <a:buFont typeface="Wingdings" panose="05000000000000000000" pitchFamily="2" charset="2"/>
                        <a:buNone/>
                      </a:pPr>
                      <a:r>
                        <a:rPr lang="en-US" sz="1400" dirty="0">
                          <a:latin typeface="3M Circular TT Light" panose="020B0404020101020102" pitchFamily="34" charset="0"/>
                          <a:cs typeface="3M Circular TT Light" panose="020B0404020101020102" pitchFamily="34" charset="0"/>
                        </a:rPr>
                        <a:t>On</a:t>
                      </a:r>
                      <a:r>
                        <a:rPr lang="en-US" sz="1400" baseline="0" dirty="0">
                          <a:latin typeface="3M Circular TT Light" panose="020B0404020101020102" pitchFamily="34" charset="0"/>
                          <a:cs typeface="3M Circular TT Light" panose="020B0404020101020102" pitchFamily="34" charset="0"/>
                        </a:rPr>
                        <a:t> road reflectivity test helps 3M demonstrate value prop</a:t>
                      </a:r>
                      <a:endParaRPr lang="en-US" sz="1400" dirty="0">
                        <a:latin typeface="3M Circular TT Light" panose="020B0404020101020102" pitchFamily="34" charset="0"/>
                        <a:cs typeface="3M Circular TT Light" panose="020B0404020101020102" pitchFamily="34" charset="0"/>
                      </a:endParaRPr>
                    </a:p>
                  </a:txBody>
                  <a:tcPr anchor="ctr"/>
                </a:tc>
                <a:extLst>
                  <a:ext uri="{0D108BD9-81ED-4DB2-BD59-A6C34878D82A}">
                    <a16:rowId xmlns="" xmlns:a16="http://schemas.microsoft.com/office/drawing/2014/main" val="10003"/>
                  </a:ext>
                </a:extLst>
              </a:tr>
            </a:tbl>
          </a:graphicData>
        </a:graphic>
      </p:graphicFrame>
      <p:sp>
        <p:nvSpPr>
          <p:cNvPr id="11" name="TextBox 10"/>
          <p:cNvSpPr txBox="1"/>
          <p:nvPr/>
        </p:nvSpPr>
        <p:spPr>
          <a:xfrm>
            <a:off x="379412" y="5853587"/>
            <a:ext cx="1862626" cy="307777"/>
          </a:xfrm>
          <a:prstGeom prst="rect">
            <a:avLst/>
          </a:prstGeom>
          <a:noFill/>
        </p:spPr>
        <p:txBody>
          <a:bodyPr wrap="square" lIns="0" tIns="0" rIns="0" bIns="0" rtlCol="0">
            <a:spAutoFit/>
          </a:bodyPr>
          <a:lstStyle/>
          <a:p>
            <a:pPr algn="ctr"/>
            <a:r>
              <a:rPr lang="en-US" sz="2000" dirty="0">
                <a:solidFill>
                  <a:prstClr val="black"/>
                </a:solidFill>
              </a:rPr>
              <a:t>Bottom Line:</a:t>
            </a:r>
          </a:p>
        </p:txBody>
      </p:sp>
      <p:sp>
        <p:nvSpPr>
          <p:cNvPr id="12" name="TextBox 11"/>
          <p:cNvSpPr txBox="1"/>
          <p:nvPr/>
        </p:nvSpPr>
        <p:spPr>
          <a:xfrm>
            <a:off x="2139705" y="5853587"/>
            <a:ext cx="9776005" cy="307777"/>
          </a:xfrm>
          <a:prstGeom prst="rect">
            <a:avLst/>
          </a:prstGeom>
          <a:noFill/>
        </p:spPr>
        <p:txBody>
          <a:bodyPr wrap="square" lIns="0" tIns="0" rIns="0" bIns="0" rtlCol="0">
            <a:spAutoFit/>
          </a:bodyPr>
          <a:lstStyle/>
          <a:p>
            <a:r>
              <a:rPr lang="en-US" sz="2000" dirty="0">
                <a:solidFill>
                  <a:prstClr val="black"/>
                </a:solidFill>
                <a:latin typeface="3M Circular TT Light" panose="020B0404020101020102" pitchFamily="34" charset="0"/>
                <a:cs typeface="3M Circular TT Light" panose="020B0404020101020102" pitchFamily="34" charset="0"/>
              </a:rPr>
              <a:t>Retained performance levels help</a:t>
            </a:r>
            <a:r>
              <a:rPr lang="en-US" sz="2000" strike="sngStrike" dirty="0">
                <a:solidFill>
                  <a:prstClr val="black"/>
                </a:solidFill>
                <a:latin typeface="3M Circular TT Light" panose="020B0404020101020102" pitchFamily="34" charset="0"/>
                <a:cs typeface="3M Circular TT Light" panose="020B0404020101020102" pitchFamily="34" charset="0"/>
              </a:rPr>
              <a:t>s</a:t>
            </a:r>
            <a:r>
              <a:rPr lang="en-US" sz="2000" dirty="0">
                <a:solidFill>
                  <a:prstClr val="black"/>
                </a:solidFill>
                <a:latin typeface="3M Circular TT Light" panose="020B0404020101020102" pitchFamily="34" charset="0"/>
                <a:cs typeface="3M Circular TT Light" panose="020B0404020101020102" pitchFamily="34" charset="0"/>
              </a:rPr>
              <a:t> ensure better performing products on the road</a:t>
            </a:r>
          </a:p>
        </p:txBody>
      </p:sp>
      <p:sp>
        <p:nvSpPr>
          <p:cNvPr id="13" name="Rectangle 12"/>
          <p:cNvSpPr/>
          <p:nvPr/>
        </p:nvSpPr>
        <p:spPr>
          <a:xfrm>
            <a:off x="379412" y="5689247"/>
            <a:ext cx="11589136" cy="629953"/>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4" name="TextBox 13"/>
          <p:cNvSpPr txBox="1"/>
          <p:nvPr/>
        </p:nvSpPr>
        <p:spPr>
          <a:xfrm>
            <a:off x="379412" y="6365959"/>
            <a:ext cx="7192853" cy="153888"/>
          </a:xfrm>
          <a:prstGeom prst="rect">
            <a:avLst/>
          </a:prstGeom>
          <a:noFill/>
        </p:spPr>
        <p:txBody>
          <a:bodyPr wrap="square" lIns="0" tIns="0" rIns="0" bIns="0" rtlCol="0">
            <a:spAutoFit/>
          </a:bodyPr>
          <a:lstStyle/>
          <a:p>
            <a:r>
              <a:rPr lang="en-US" sz="1000" dirty="0">
                <a:solidFill>
                  <a:prstClr val="black"/>
                </a:solidFill>
              </a:rPr>
              <a:t>Source: ASTM D4280, ASTM D4383, BS EN 1463-1, BS EN 1463-2, ABNT NBR 14636-13</a:t>
            </a:r>
          </a:p>
        </p:txBody>
      </p:sp>
    </p:spTree>
    <p:extLst>
      <p:ext uri="{BB962C8B-B14F-4D97-AF65-F5344CB8AC3E}">
        <p14:creationId xmlns:p14="http://schemas.microsoft.com/office/powerpoint/2010/main" val="3099052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0C8FD51-73A3-4F05-B770-3F8E186660BC}"/>
              </a:ext>
            </a:extLst>
          </p:cNvPr>
          <p:cNvSpPr>
            <a:spLocks noGrp="1"/>
          </p:cNvSpPr>
          <p:nvPr>
            <p:ph type="title"/>
          </p:nvPr>
        </p:nvSpPr>
        <p:spPr/>
        <p:txBody>
          <a:bodyPr/>
          <a:lstStyle/>
          <a:p>
            <a:r>
              <a:rPr lang="en-US" dirty="0"/>
              <a:t>Being 3M</a:t>
            </a:r>
            <a:endParaRPr lang="en-US" sz="4000" dirty="0"/>
          </a:p>
        </p:txBody>
      </p:sp>
      <p:sp>
        <p:nvSpPr>
          <p:cNvPr id="3" name="Content Placeholder 2">
            <a:extLst>
              <a:ext uri="{FF2B5EF4-FFF2-40B4-BE49-F238E27FC236}">
                <a16:creationId xmlns="" xmlns:a16="http://schemas.microsoft.com/office/drawing/2014/main" id="{5F9A88E6-BA0F-4882-BACC-904B4731C32E}"/>
              </a:ext>
            </a:extLst>
          </p:cNvPr>
          <p:cNvSpPr>
            <a:spLocks noGrp="1"/>
          </p:cNvSpPr>
          <p:nvPr>
            <p:ph sz="quarter" idx="15"/>
          </p:nvPr>
        </p:nvSpPr>
        <p:spPr/>
        <p:txBody>
          <a:bodyPr/>
          <a:lstStyle/>
          <a:p>
            <a:pPr marL="342900" indent="-342900">
              <a:buFont typeface="Arial" panose="020B0604020202020204" pitchFamily="34" charset="0"/>
              <a:buChar char="•"/>
            </a:pPr>
            <a:r>
              <a:rPr lang="en-US" sz="1800" dirty="0"/>
              <a:t>Marketing laws regarding differ from country to country. </a:t>
            </a:r>
          </a:p>
          <a:p>
            <a:pPr marL="700088" lvl="2" indent="-342900"/>
            <a:r>
              <a:rPr lang="en-US" sz="1800" dirty="0">
                <a:latin typeface="3M Circular TT Light" panose="020B0404020101020102" pitchFamily="34" charset="0"/>
                <a:cs typeface="3M Circular TT Light" panose="020B0404020101020102" pitchFamily="34" charset="0"/>
              </a:rPr>
              <a:t>Before localizing and translating content, please review campaign assets with your subsidiary’s legal team to confirm that the content meets with your country’s legal requirements. If it does not, adjust accordingly and with agreement from your legal team. </a:t>
            </a:r>
          </a:p>
          <a:p>
            <a:pPr marL="342900" indent="-342900">
              <a:buFont typeface="Arial" panose="020B0604020202020204" pitchFamily="34" charset="0"/>
              <a:buChar char="•"/>
            </a:pPr>
            <a:r>
              <a:rPr lang="en-US" sz="1800" dirty="0"/>
              <a:t>Reminders</a:t>
            </a:r>
          </a:p>
          <a:p>
            <a:pPr marL="700088" lvl="2" indent="-342900"/>
            <a:r>
              <a:rPr lang="en-US" sz="1800" dirty="0"/>
              <a:t>Email</a:t>
            </a:r>
          </a:p>
          <a:p>
            <a:pPr marL="1057275" lvl="4" indent="-342900"/>
            <a:r>
              <a:rPr lang="en-US" sz="1800" dirty="0">
                <a:latin typeface="3M Circular TT Light" panose="020B0404020101020102" pitchFamily="34" charset="0"/>
                <a:cs typeface="3M Circular TT Light" panose="020B0404020101020102" pitchFamily="34" charset="0"/>
              </a:rPr>
              <a:t>Check your country’s email legal requirements. If you are unaware of your country’s requirements, check in with your DRC. They likely have a marketing automation specialist who is familiar with the specific requirements of each country within their region. </a:t>
            </a:r>
          </a:p>
          <a:p>
            <a:pPr marL="700088" lvl="2" indent="-342900"/>
            <a:r>
              <a:rPr lang="en-US" sz="1800" dirty="0"/>
              <a:t>Content</a:t>
            </a:r>
          </a:p>
          <a:p>
            <a:pPr marL="1057275" lvl="4" indent="-342900"/>
            <a:r>
              <a:rPr lang="en-US" sz="1800" dirty="0">
                <a:latin typeface="3M Circular TT Light" panose="020B0404020101020102" pitchFamily="34" charset="0"/>
                <a:cs typeface="3M Circular TT Light" panose="020B0404020101020102" pitchFamily="34" charset="0"/>
              </a:rPr>
              <a:t>Use “top competitor” rather than name a competitor</a:t>
            </a:r>
          </a:p>
          <a:p>
            <a:pPr marL="1057275" lvl="4" indent="-342900"/>
            <a:r>
              <a:rPr lang="en-US" sz="1800" dirty="0">
                <a:latin typeface="3M Circular TT Light" panose="020B0404020101020102" pitchFamily="34" charset="0"/>
                <a:cs typeface="3M Circular TT Light" panose="020B0404020101020102" pitchFamily="34" charset="0"/>
              </a:rPr>
              <a:t>Do not make claims about products unless documented substantiation is available</a:t>
            </a:r>
          </a:p>
          <a:p>
            <a:pPr marL="1057275" lvl="4" indent="-342900"/>
            <a:endParaRPr lang="en-US" sz="1800" dirty="0"/>
          </a:p>
          <a:p>
            <a:pPr marL="700088" lvl="2" indent="-342900"/>
            <a:endParaRPr lang="en-US" sz="1800" dirty="0"/>
          </a:p>
        </p:txBody>
      </p:sp>
    </p:spTree>
    <p:extLst>
      <p:ext uri="{BB962C8B-B14F-4D97-AF65-F5344CB8AC3E}">
        <p14:creationId xmlns:p14="http://schemas.microsoft.com/office/powerpoint/2010/main" val="2661288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16" name="Table 15">
            <a:extLst>
              <a:ext uri="{FF2B5EF4-FFF2-40B4-BE49-F238E27FC236}">
                <a16:creationId xmlns="" xmlns:a16="http://schemas.microsoft.com/office/drawing/2014/main" id="{35EED2AD-A9C5-4A8C-8E20-35AC45F9861F}"/>
              </a:ext>
            </a:extLst>
          </p:cNvPr>
          <p:cNvGraphicFramePr>
            <a:graphicFrameLocks noGrp="1"/>
          </p:cNvGraphicFramePr>
          <p:nvPr>
            <p:extLst/>
          </p:nvPr>
        </p:nvGraphicFramePr>
        <p:xfrm>
          <a:off x="6283104" y="1292916"/>
          <a:ext cx="5521545" cy="2100528"/>
        </p:xfrm>
        <a:graphic>
          <a:graphicData uri="http://schemas.openxmlformats.org/drawingml/2006/table">
            <a:tbl>
              <a:tblPr firstRow="1" bandRow="1"/>
              <a:tblGrid>
                <a:gridCol w="5521545">
                  <a:extLst>
                    <a:ext uri="{9D8B030D-6E8A-4147-A177-3AD203B41FA5}">
                      <a16:colId xmlns="" xmlns:a16="http://schemas.microsoft.com/office/drawing/2014/main" val="4185218207"/>
                    </a:ext>
                  </a:extLst>
                </a:gridCol>
              </a:tblGrid>
              <a:tr h="297902">
                <a:tc>
                  <a:txBody>
                    <a:bodyPr/>
                    <a:lstStyle>
                      <a:lvl1pPr marL="0" algn="l" defTabSz="914400" rtl="0" eaLnBrk="1" latinLnBrk="0" hangingPunct="1">
                        <a:defRPr sz="1800" kern="1200">
                          <a:solidFill>
                            <a:schemeClr val="tx1"/>
                          </a:solidFill>
                          <a:latin typeface="3M Circular TT Book"/>
                        </a:defRPr>
                      </a:lvl1pPr>
                      <a:lvl2pPr marL="457200" algn="l" defTabSz="914400" rtl="0" eaLnBrk="1" latinLnBrk="0" hangingPunct="1">
                        <a:defRPr sz="1800" kern="1200">
                          <a:solidFill>
                            <a:schemeClr val="tx1"/>
                          </a:solidFill>
                          <a:latin typeface="3M Circular TT Book"/>
                        </a:defRPr>
                      </a:lvl2pPr>
                      <a:lvl3pPr marL="914400" algn="l" defTabSz="914400" rtl="0" eaLnBrk="1" latinLnBrk="0" hangingPunct="1">
                        <a:defRPr sz="1800" kern="1200">
                          <a:solidFill>
                            <a:schemeClr val="tx1"/>
                          </a:solidFill>
                          <a:latin typeface="3M Circular TT Book"/>
                        </a:defRPr>
                      </a:lvl3pPr>
                      <a:lvl4pPr marL="1371600" algn="l" defTabSz="914400" rtl="0" eaLnBrk="1" latinLnBrk="0" hangingPunct="1">
                        <a:defRPr sz="1800" kern="1200">
                          <a:solidFill>
                            <a:schemeClr val="tx1"/>
                          </a:solidFill>
                          <a:latin typeface="3M Circular TT Book"/>
                        </a:defRPr>
                      </a:lvl4pPr>
                      <a:lvl5pPr marL="1828800" algn="l" defTabSz="914400" rtl="0" eaLnBrk="1" latinLnBrk="0" hangingPunct="1">
                        <a:defRPr sz="1800" kern="1200">
                          <a:solidFill>
                            <a:schemeClr val="tx1"/>
                          </a:solidFill>
                          <a:latin typeface="3M Circular TT Book"/>
                        </a:defRPr>
                      </a:lvl5pPr>
                      <a:lvl6pPr marL="2286000" algn="l" defTabSz="914400" rtl="0" eaLnBrk="1" latinLnBrk="0" hangingPunct="1">
                        <a:defRPr sz="1800" kern="1200">
                          <a:solidFill>
                            <a:schemeClr val="tx1"/>
                          </a:solidFill>
                          <a:latin typeface="3M Circular TT Book"/>
                        </a:defRPr>
                      </a:lvl6pPr>
                      <a:lvl7pPr marL="2743200" algn="l" defTabSz="914400" rtl="0" eaLnBrk="1" latinLnBrk="0" hangingPunct="1">
                        <a:defRPr sz="1800" kern="1200">
                          <a:solidFill>
                            <a:schemeClr val="tx1"/>
                          </a:solidFill>
                          <a:latin typeface="3M Circular TT Book"/>
                        </a:defRPr>
                      </a:lvl7pPr>
                      <a:lvl8pPr marL="3200400" algn="l" defTabSz="914400" rtl="0" eaLnBrk="1" latinLnBrk="0" hangingPunct="1">
                        <a:defRPr sz="1800" kern="1200">
                          <a:solidFill>
                            <a:schemeClr val="tx1"/>
                          </a:solidFill>
                          <a:latin typeface="3M Circular TT Book"/>
                        </a:defRPr>
                      </a:lvl8pPr>
                      <a:lvl9pPr marL="3657600" algn="l" defTabSz="914400" rtl="0" eaLnBrk="1" latinLnBrk="0" hangingPunct="1">
                        <a:defRPr sz="1800" kern="1200">
                          <a:solidFill>
                            <a:schemeClr val="tx1"/>
                          </a:solidFill>
                          <a:latin typeface="3M Circular TT Book"/>
                        </a:defRPr>
                      </a:lvl9pPr>
                    </a:lstStyle>
                    <a:p>
                      <a:r>
                        <a:rPr lang="en-US" sz="1600" b="1" kern="1200" dirty="0">
                          <a:solidFill>
                            <a:schemeClr val="tx1"/>
                          </a:solidFill>
                          <a:latin typeface="+mj-lt"/>
                          <a:ea typeface="+mn-ea"/>
                          <a:cs typeface="3M Circular TT Book" panose="020B0604020101020102" pitchFamily="34" charset="0"/>
                        </a:rPr>
                        <a:t>Road visibility before/after 3M</a:t>
                      </a:r>
                      <a:r>
                        <a:rPr lang="en-US" sz="1600" b="1" kern="1200" dirty="0">
                          <a:solidFill>
                            <a:schemeClr val="tx1"/>
                          </a:solidFill>
                          <a:latin typeface="3M Circular TT Bold" panose="020B0804020101010102" pitchFamily="34" charset="0"/>
                          <a:ea typeface="+mn-ea"/>
                          <a:cs typeface="3M Circular TT Bold" panose="020B0804020101010102" pitchFamily="34" charset="0"/>
                        </a:rPr>
                        <a:t>™ </a:t>
                      </a:r>
                      <a:r>
                        <a:rPr lang="en-US" sz="1600" b="1" kern="1200" dirty="0">
                          <a:solidFill>
                            <a:schemeClr val="tx1"/>
                          </a:solidFill>
                          <a:latin typeface="+mj-lt"/>
                          <a:ea typeface="+mn-ea"/>
                          <a:cs typeface="3M Circular TT Book" panose="020B0604020101020102" pitchFamily="34" charset="0"/>
                        </a:rPr>
                        <a:t>RPM</a:t>
                      </a:r>
                      <a:r>
                        <a:rPr lang="en-US" sz="1600" b="1" kern="1200" baseline="0" dirty="0">
                          <a:solidFill>
                            <a:schemeClr val="tx1"/>
                          </a:solidFill>
                          <a:latin typeface="+mj-lt"/>
                          <a:ea typeface="+mn-ea"/>
                          <a:cs typeface="3M Circular TT Book" panose="020B0604020101020102" pitchFamily="34" charset="0"/>
                        </a:rPr>
                        <a:t> 290s</a:t>
                      </a:r>
                      <a:r>
                        <a:rPr lang="en-US" sz="1600" b="1" kern="1200" dirty="0">
                          <a:solidFill>
                            <a:schemeClr val="tx1"/>
                          </a:solidFill>
                          <a:latin typeface="+mj-lt"/>
                          <a:ea typeface="+mn-ea"/>
                          <a:cs typeface="3M Circular TT Book" panose="020B0604020101020102" pitchFamily="34" charset="0"/>
                        </a:rPr>
                        <a:t> are installed</a:t>
                      </a:r>
                      <a:endParaRPr lang="en-US" sz="1600" b="1" dirty="0">
                        <a:latin typeface="+mj-lt"/>
                        <a:cs typeface="3M Circular TT Book" panose="020B0604020101020102" pitchFamily="34" charset="0"/>
                      </a:endParaRPr>
                    </a:p>
                  </a:txBody>
                  <a:tcPr anchor="b">
                    <a:lnL>
                      <a:noFill/>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3336909303"/>
                  </a:ext>
                </a:extLst>
              </a:tr>
              <a:tr h="1765248">
                <a:tc>
                  <a:txBody>
                    <a:bodyPr/>
                    <a:lstStyle>
                      <a:lvl1pPr marL="0" algn="l" defTabSz="914400" rtl="0" eaLnBrk="1" latinLnBrk="0" hangingPunct="1">
                        <a:defRPr sz="1800" kern="1200">
                          <a:solidFill>
                            <a:schemeClr val="tx1"/>
                          </a:solidFill>
                          <a:latin typeface="3M Circular TT Book"/>
                        </a:defRPr>
                      </a:lvl1pPr>
                      <a:lvl2pPr marL="457200" algn="l" defTabSz="914400" rtl="0" eaLnBrk="1" latinLnBrk="0" hangingPunct="1">
                        <a:defRPr sz="1800" kern="1200">
                          <a:solidFill>
                            <a:schemeClr val="tx1"/>
                          </a:solidFill>
                          <a:latin typeface="3M Circular TT Book"/>
                        </a:defRPr>
                      </a:lvl2pPr>
                      <a:lvl3pPr marL="914400" algn="l" defTabSz="914400" rtl="0" eaLnBrk="1" latinLnBrk="0" hangingPunct="1">
                        <a:defRPr sz="1800" kern="1200">
                          <a:solidFill>
                            <a:schemeClr val="tx1"/>
                          </a:solidFill>
                          <a:latin typeface="3M Circular TT Book"/>
                        </a:defRPr>
                      </a:lvl3pPr>
                      <a:lvl4pPr marL="1371600" algn="l" defTabSz="914400" rtl="0" eaLnBrk="1" latinLnBrk="0" hangingPunct="1">
                        <a:defRPr sz="1800" kern="1200">
                          <a:solidFill>
                            <a:schemeClr val="tx1"/>
                          </a:solidFill>
                          <a:latin typeface="3M Circular TT Book"/>
                        </a:defRPr>
                      </a:lvl4pPr>
                      <a:lvl5pPr marL="1828800" algn="l" defTabSz="914400" rtl="0" eaLnBrk="1" latinLnBrk="0" hangingPunct="1">
                        <a:defRPr sz="1800" kern="1200">
                          <a:solidFill>
                            <a:schemeClr val="tx1"/>
                          </a:solidFill>
                          <a:latin typeface="3M Circular TT Book"/>
                        </a:defRPr>
                      </a:lvl5pPr>
                      <a:lvl6pPr marL="2286000" algn="l" defTabSz="914400" rtl="0" eaLnBrk="1" latinLnBrk="0" hangingPunct="1">
                        <a:defRPr sz="1800" kern="1200">
                          <a:solidFill>
                            <a:schemeClr val="tx1"/>
                          </a:solidFill>
                          <a:latin typeface="3M Circular TT Book"/>
                        </a:defRPr>
                      </a:lvl6pPr>
                      <a:lvl7pPr marL="2743200" algn="l" defTabSz="914400" rtl="0" eaLnBrk="1" latinLnBrk="0" hangingPunct="1">
                        <a:defRPr sz="1800" kern="1200">
                          <a:solidFill>
                            <a:schemeClr val="tx1"/>
                          </a:solidFill>
                          <a:latin typeface="3M Circular TT Book"/>
                        </a:defRPr>
                      </a:lvl7pPr>
                      <a:lvl8pPr marL="3200400" algn="l" defTabSz="914400" rtl="0" eaLnBrk="1" latinLnBrk="0" hangingPunct="1">
                        <a:defRPr sz="1800" kern="1200">
                          <a:solidFill>
                            <a:schemeClr val="tx1"/>
                          </a:solidFill>
                          <a:latin typeface="3M Circular TT Book"/>
                        </a:defRPr>
                      </a:lvl8pPr>
                      <a:lvl9pPr marL="3657600" algn="l" defTabSz="914400" rtl="0" eaLnBrk="1" latinLnBrk="0" hangingPunct="1">
                        <a:defRPr sz="1800" kern="1200">
                          <a:solidFill>
                            <a:schemeClr val="tx1"/>
                          </a:solidFill>
                          <a:latin typeface="3M Circular TT Book"/>
                        </a:defRPr>
                      </a:lvl9pPr>
                    </a:lstStyle>
                    <a:p>
                      <a:pPr marL="0" indent="0">
                        <a:buFont typeface="Wingdings" panose="05000000000000000000" pitchFamily="2" charset="2"/>
                        <a:buNone/>
                      </a:pPr>
                      <a:endParaRPr lang="en-US" sz="1400" b="0" baseline="0" dirty="0">
                        <a:latin typeface="3M Circular TT Light" panose="020B0404020101020102" pitchFamily="34" charset="0"/>
                        <a:cs typeface="3M Circular TT Light" panose="020B0404020101020102" pitchFamily="34" charset="0"/>
                      </a:endParaRPr>
                    </a:p>
                  </a:txBody>
                  <a:tcPr anchor="ctr">
                    <a:lnL>
                      <a:noFill/>
                    </a:lnL>
                    <a:lnR>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398563001"/>
                  </a:ext>
                </a:extLst>
              </a:tr>
            </a:tbl>
          </a:graphicData>
        </a:graphic>
      </p:graphicFrame>
      <p:sp>
        <p:nvSpPr>
          <p:cNvPr id="5" name="Title 1"/>
          <p:cNvSpPr txBox="1">
            <a:spLocks/>
          </p:cNvSpPr>
          <p:nvPr/>
        </p:nvSpPr>
        <p:spPr>
          <a:xfrm>
            <a:off x="379412" y="379414"/>
            <a:ext cx="11425237" cy="457200"/>
          </a:xfrm>
          <a:prstGeom prst="rect">
            <a:avLst/>
          </a:prstGeom>
        </p:spPr>
        <p:txBody>
          <a:bodyPr vert="horz" wrap="square"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pPr>
              <a:defRPr/>
            </a:pPr>
            <a:r>
              <a:rPr lang="en-US" dirty="0">
                <a:solidFill>
                  <a:sysClr val="windowText" lastClr="000000"/>
                </a:solidFill>
              </a:rPr>
              <a:t>Raised Pavement Marker Basics</a:t>
            </a:r>
          </a:p>
        </p:txBody>
      </p:sp>
      <p:sp>
        <p:nvSpPr>
          <p:cNvPr id="6" name="Text Placeholder 3"/>
          <p:cNvSpPr txBox="1">
            <a:spLocks/>
          </p:cNvSpPr>
          <p:nvPr/>
        </p:nvSpPr>
        <p:spPr>
          <a:xfrm>
            <a:off x="380999" y="841248"/>
            <a:ext cx="11669973" cy="365760"/>
          </a:xfrm>
          <a:prstGeom prst="rect">
            <a:avLst/>
          </a:prstGeom>
        </p:spPr>
        <p:txBody>
          <a:bodyPr vert="horz" wrap="square" lIns="0" tIns="0" rIns="180000" bIns="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400" kern="120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sz="2000" dirty="0">
                <a:solidFill>
                  <a:srgbClr val="FFFFFF">
                    <a:lumMod val="50000"/>
                  </a:srgbClr>
                </a:solidFill>
              </a:rPr>
              <a:t>RPMs are used to supplement traditional pavement markings at night and in rainy conditions</a:t>
            </a:r>
          </a:p>
        </p:txBody>
      </p:sp>
      <p:graphicFrame>
        <p:nvGraphicFramePr>
          <p:cNvPr id="7" name="Table 6">
            <a:extLst>
              <a:ext uri="{FF2B5EF4-FFF2-40B4-BE49-F238E27FC236}">
                <a16:creationId xmlns="" xmlns:a16="http://schemas.microsoft.com/office/drawing/2014/main" id="{35EED2AD-A9C5-4A8C-8E20-35AC45F9861F}"/>
              </a:ext>
            </a:extLst>
          </p:cNvPr>
          <p:cNvGraphicFramePr>
            <a:graphicFrameLocks noGrp="1"/>
          </p:cNvGraphicFramePr>
          <p:nvPr>
            <p:extLst>
              <p:ext uri="{D42A27DB-BD31-4B8C-83A1-F6EECF244321}">
                <p14:modId xmlns:p14="http://schemas.microsoft.com/office/powerpoint/2010/main" val="574000033"/>
              </p:ext>
            </p:extLst>
          </p:nvPr>
        </p:nvGraphicFramePr>
        <p:xfrm>
          <a:off x="379412" y="1292916"/>
          <a:ext cx="5124994" cy="4475087"/>
        </p:xfrm>
        <a:graphic>
          <a:graphicData uri="http://schemas.openxmlformats.org/drawingml/2006/table">
            <a:tbl>
              <a:tblPr firstRow="1" bandRow="1"/>
              <a:tblGrid>
                <a:gridCol w="2562497">
                  <a:extLst>
                    <a:ext uri="{9D8B030D-6E8A-4147-A177-3AD203B41FA5}">
                      <a16:colId xmlns="" xmlns:a16="http://schemas.microsoft.com/office/drawing/2014/main" val="4185218207"/>
                    </a:ext>
                  </a:extLst>
                </a:gridCol>
                <a:gridCol w="2562497">
                  <a:extLst>
                    <a:ext uri="{9D8B030D-6E8A-4147-A177-3AD203B41FA5}">
                      <a16:colId xmlns="" xmlns:a16="http://schemas.microsoft.com/office/drawing/2014/main" val="20001"/>
                    </a:ext>
                  </a:extLst>
                </a:gridCol>
              </a:tblGrid>
              <a:tr h="297902">
                <a:tc gridSpan="2">
                  <a:txBody>
                    <a:bodyPr/>
                    <a:lstStyle>
                      <a:lvl1pPr marL="0" algn="l" defTabSz="914400" rtl="0" eaLnBrk="1" latinLnBrk="0" hangingPunct="1">
                        <a:defRPr sz="1800" kern="1200">
                          <a:solidFill>
                            <a:schemeClr val="tx1"/>
                          </a:solidFill>
                          <a:latin typeface="3M Circular TT Book"/>
                        </a:defRPr>
                      </a:lvl1pPr>
                      <a:lvl2pPr marL="457200" algn="l" defTabSz="914400" rtl="0" eaLnBrk="1" latinLnBrk="0" hangingPunct="1">
                        <a:defRPr sz="1800" kern="1200">
                          <a:solidFill>
                            <a:schemeClr val="tx1"/>
                          </a:solidFill>
                          <a:latin typeface="3M Circular TT Book"/>
                        </a:defRPr>
                      </a:lvl2pPr>
                      <a:lvl3pPr marL="914400" algn="l" defTabSz="914400" rtl="0" eaLnBrk="1" latinLnBrk="0" hangingPunct="1">
                        <a:defRPr sz="1800" kern="1200">
                          <a:solidFill>
                            <a:schemeClr val="tx1"/>
                          </a:solidFill>
                          <a:latin typeface="3M Circular TT Book"/>
                        </a:defRPr>
                      </a:lvl3pPr>
                      <a:lvl4pPr marL="1371600" algn="l" defTabSz="914400" rtl="0" eaLnBrk="1" latinLnBrk="0" hangingPunct="1">
                        <a:defRPr sz="1800" kern="1200">
                          <a:solidFill>
                            <a:schemeClr val="tx1"/>
                          </a:solidFill>
                          <a:latin typeface="3M Circular TT Book"/>
                        </a:defRPr>
                      </a:lvl4pPr>
                      <a:lvl5pPr marL="1828800" algn="l" defTabSz="914400" rtl="0" eaLnBrk="1" latinLnBrk="0" hangingPunct="1">
                        <a:defRPr sz="1800" kern="1200">
                          <a:solidFill>
                            <a:schemeClr val="tx1"/>
                          </a:solidFill>
                          <a:latin typeface="3M Circular TT Book"/>
                        </a:defRPr>
                      </a:lvl5pPr>
                      <a:lvl6pPr marL="2286000" algn="l" defTabSz="914400" rtl="0" eaLnBrk="1" latinLnBrk="0" hangingPunct="1">
                        <a:defRPr sz="1800" kern="1200">
                          <a:solidFill>
                            <a:schemeClr val="tx1"/>
                          </a:solidFill>
                          <a:latin typeface="3M Circular TT Book"/>
                        </a:defRPr>
                      </a:lvl6pPr>
                      <a:lvl7pPr marL="2743200" algn="l" defTabSz="914400" rtl="0" eaLnBrk="1" latinLnBrk="0" hangingPunct="1">
                        <a:defRPr sz="1800" kern="1200">
                          <a:solidFill>
                            <a:schemeClr val="tx1"/>
                          </a:solidFill>
                          <a:latin typeface="3M Circular TT Book"/>
                        </a:defRPr>
                      </a:lvl7pPr>
                      <a:lvl8pPr marL="3200400" algn="l" defTabSz="914400" rtl="0" eaLnBrk="1" latinLnBrk="0" hangingPunct="1">
                        <a:defRPr sz="1800" kern="1200">
                          <a:solidFill>
                            <a:schemeClr val="tx1"/>
                          </a:solidFill>
                          <a:latin typeface="3M Circular TT Book"/>
                        </a:defRPr>
                      </a:lvl8pPr>
                      <a:lvl9pPr marL="3657600" algn="l" defTabSz="914400" rtl="0" eaLnBrk="1" latinLnBrk="0" hangingPunct="1">
                        <a:defRPr sz="1800" kern="1200">
                          <a:solidFill>
                            <a:schemeClr val="tx1"/>
                          </a:solidFill>
                          <a:latin typeface="3M Circular TT Book"/>
                        </a:defRPr>
                      </a:lvl9pPr>
                    </a:lstStyle>
                    <a:p>
                      <a:r>
                        <a:rPr lang="en-US" sz="1600" b="1" kern="1200" dirty="0">
                          <a:solidFill>
                            <a:schemeClr val="tx1"/>
                          </a:solidFill>
                          <a:latin typeface="+mj-lt"/>
                          <a:ea typeface="+mn-ea"/>
                          <a:cs typeface="3M Circular TT Book" panose="020B0604020101020102" pitchFamily="34" charset="0"/>
                        </a:rPr>
                        <a:t>Benefits of Raised Pavement Markers*</a:t>
                      </a:r>
                      <a:endParaRPr lang="en-US" sz="1600" b="1" dirty="0">
                        <a:solidFill>
                          <a:schemeClr val="tx1"/>
                        </a:solidFill>
                        <a:latin typeface="+mj-lt"/>
                        <a:cs typeface="3M Circular TT Book" panose="020B0604020101020102" pitchFamily="34" charset="0"/>
                      </a:endParaRPr>
                    </a:p>
                  </a:txBody>
                  <a:tcPr anchor="b">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 xmlns:a16="http://schemas.microsoft.com/office/drawing/2014/main" val="3336909303"/>
                  </a:ext>
                </a:extLst>
              </a:tr>
              <a:tr h="441312">
                <a:tc gridSpan="2">
                  <a:txBody>
                    <a:bodyPr/>
                    <a:lstStyle>
                      <a:lvl1pPr marL="0" algn="l" defTabSz="914400" rtl="0" eaLnBrk="1" latinLnBrk="0" hangingPunct="1">
                        <a:defRPr sz="1800" kern="1200">
                          <a:solidFill>
                            <a:schemeClr val="tx1"/>
                          </a:solidFill>
                          <a:latin typeface="3M Circular TT Book"/>
                        </a:defRPr>
                      </a:lvl1pPr>
                      <a:lvl2pPr marL="457200" algn="l" defTabSz="914400" rtl="0" eaLnBrk="1" latinLnBrk="0" hangingPunct="1">
                        <a:defRPr sz="1800" kern="1200">
                          <a:solidFill>
                            <a:schemeClr val="tx1"/>
                          </a:solidFill>
                          <a:latin typeface="3M Circular TT Book"/>
                        </a:defRPr>
                      </a:lvl2pPr>
                      <a:lvl3pPr marL="914400" algn="l" defTabSz="914400" rtl="0" eaLnBrk="1" latinLnBrk="0" hangingPunct="1">
                        <a:defRPr sz="1800" kern="1200">
                          <a:solidFill>
                            <a:schemeClr val="tx1"/>
                          </a:solidFill>
                          <a:latin typeface="3M Circular TT Book"/>
                        </a:defRPr>
                      </a:lvl3pPr>
                      <a:lvl4pPr marL="1371600" algn="l" defTabSz="914400" rtl="0" eaLnBrk="1" latinLnBrk="0" hangingPunct="1">
                        <a:defRPr sz="1800" kern="1200">
                          <a:solidFill>
                            <a:schemeClr val="tx1"/>
                          </a:solidFill>
                          <a:latin typeface="3M Circular TT Book"/>
                        </a:defRPr>
                      </a:lvl4pPr>
                      <a:lvl5pPr marL="1828800" algn="l" defTabSz="914400" rtl="0" eaLnBrk="1" latinLnBrk="0" hangingPunct="1">
                        <a:defRPr sz="1800" kern="1200">
                          <a:solidFill>
                            <a:schemeClr val="tx1"/>
                          </a:solidFill>
                          <a:latin typeface="3M Circular TT Book"/>
                        </a:defRPr>
                      </a:lvl5pPr>
                      <a:lvl6pPr marL="2286000" algn="l" defTabSz="914400" rtl="0" eaLnBrk="1" latinLnBrk="0" hangingPunct="1">
                        <a:defRPr sz="1800" kern="1200">
                          <a:solidFill>
                            <a:schemeClr val="tx1"/>
                          </a:solidFill>
                          <a:latin typeface="3M Circular TT Book"/>
                        </a:defRPr>
                      </a:lvl6pPr>
                      <a:lvl7pPr marL="2743200" algn="l" defTabSz="914400" rtl="0" eaLnBrk="1" latinLnBrk="0" hangingPunct="1">
                        <a:defRPr sz="1800" kern="1200">
                          <a:solidFill>
                            <a:schemeClr val="tx1"/>
                          </a:solidFill>
                          <a:latin typeface="3M Circular TT Book"/>
                        </a:defRPr>
                      </a:lvl7pPr>
                      <a:lvl8pPr marL="3200400" algn="l" defTabSz="914400" rtl="0" eaLnBrk="1" latinLnBrk="0" hangingPunct="1">
                        <a:defRPr sz="1800" kern="1200">
                          <a:solidFill>
                            <a:schemeClr val="tx1"/>
                          </a:solidFill>
                          <a:latin typeface="3M Circular TT Book"/>
                        </a:defRPr>
                      </a:lvl8pPr>
                      <a:lvl9pPr marL="3657600" algn="l" defTabSz="914400" rtl="0" eaLnBrk="1" latinLnBrk="0" hangingPunct="1">
                        <a:defRPr sz="1800" kern="1200">
                          <a:solidFill>
                            <a:schemeClr val="tx1"/>
                          </a:solidFill>
                          <a:latin typeface="3M Circular TT Book"/>
                        </a:defRPr>
                      </a:lvl9pPr>
                    </a:lstStyle>
                    <a:p>
                      <a:pPr marL="169863" indent="-169863">
                        <a:buFont typeface="Wingdings" panose="05000000000000000000" pitchFamily="2" charset="2"/>
                        <a:buChar char="§"/>
                      </a:pPr>
                      <a:r>
                        <a:rPr lang="en-US" sz="1400" b="0" baseline="0" dirty="0">
                          <a:latin typeface="3M Circular TT Light" panose="020B0404020101020102" pitchFamily="34" charset="0"/>
                          <a:cs typeface="3M Circular TT Light" panose="020B0404020101020102" pitchFamily="34" charset="0"/>
                        </a:rPr>
                        <a:t>Improves roadway visibility </a:t>
                      </a:r>
                      <a:r>
                        <a:rPr lang="en-US" sz="1400" b="0" baseline="0" dirty="0" smtClean="0">
                          <a:solidFill>
                            <a:schemeClr val="tx1"/>
                          </a:solidFill>
                          <a:latin typeface="3M Circular TT Light" panose="020B0404020101020102" pitchFamily="34" charset="0"/>
                          <a:cs typeface="3M Circular TT Light" panose="020B0404020101020102" pitchFamily="34" charset="0"/>
                        </a:rPr>
                        <a:t>in </a:t>
                      </a:r>
                      <a:r>
                        <a:rPr lang="en-US" sz="1400" b="0" baseline="0" dirty="0">
                          <a:solidFill>
                            <a:schemeClr val="tx1"/>
                          </a:solidFill>
                          <a:latin typeface="3M Circular TT Light" panose="020B0404020101020102" pitchFamily="34" charset="0"/>
                          <a:cs typeface="3M Circular TT Light" panose="020B0404020101020102" pitchFamily="34" charset="0"/>
                        </a:rPr>
                        <a:t>varying </a:t>
                      </a:r>
                      <a:r>
                        <a:rPr lang="en-US" sz="1400" b="0" baseline="0" dirty="0">
                          <a:latin typeface="3M Circular TT Light" panose="020B0404020101020102" pitchFamily="34" charset="0"/>
                          <a:cs typeface="3M Circular TT Light" panose="020B0404020101020102" pitchFamily="34" charset="0"/>
                        </a:rPr>
                        <a:t>weather conditions</a:t>
                      </a:r>
                    </a:p>
                  </a:txBody>
                  <a:tcPr anchor="ctr">
                    <a:lnL>
                      <a:noFill/>
                    </a:lnL>
                    <a:lnR>
                      <a:noFill/>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 xmlns:a16="http://schemas.microsoft.com/office/drawing/2014/main" val="1398563001"/>
                  </a:ext>
                </a:extLst>
              </a:tr>
              <a:tr h="441312">
                <a:tc gridSpan="2">
                  <a:txBody>
                    <a:bodyPr/>
                    <a:lstStyle>
                      <a:lvl1pPr marL="0" algn="l" defTabSz="914400" rtl="0" eaLnBrk="1" latinLnBrk="0" hangingPunct="1">
                        <a:defRPr sz="1800" kern="1200">
                          <a:solidFill>
                            <a:schemeClr val="tx1"/>
                          </a:solidFill>
                          <a:latin typeface="3M Circular TT Book"/>
                        </a:defRPr>
                      </a:lvl1pPr>
                      <a:lvl2pPr marL="457200" algn="l" defTabSz="914400" rtl="0" eaLnBrk="1" latinLnBrk="0" hangingPunct="1">
                        <a:defRPr sz="1800" kern="1200">
                          <a:solidFill>
                            <a:schemeClr val="tx1"/>
                          </a:solidFill>
                          <a:latin typeface="3M Circular TT Book"/>
                        </a:defRPr>
                      </a:lvl2pPr>
                      <a:lvl3pPr marL="914400" algn="l" defTabSz="914400" rtl="0" eaLnBrk="1" latinLnBrk="0" hangingPunct="1">
                        <a:defRPr sz="1800" kern="1200">
                          <a:solidFill>
                            <a:schemeClr val="tx1"/>
                          </a:solidFill>
                          <a:latin typeface="3M Circular TT Book"/>
                        </a:defRPr>
                      </a:lvl3pPr>
                      <a:lvl4pPr marL="1371600" algn="l" defTabSz="914400" rtl="0" eaLnBrk="1" latinLnBrk="0" hangingPunct="1">
                        <a:defRPr sz="1800" kern="1200">
                          <a:solidFill>
                            <a:schemeClr val="tx1"/>
                          </a:solidFill>
                          <a:latin typeface="3M Circular TT Book"/>
                        </a:defRPr>
                      </a:lvl4pPr>
                      <a:lvl5pPr marL="1828800" algn="l" defTabSz="914400" rtl="0" eaLnBrk="1" latinLnBrk="0" hangingPunct="1">
                        <a:defRPr sz="1800" kern="1200">
                          <a:solidFill>
                            <a:schemeClr val="tx1"/>
                          </a:solidFill>
                          <a:latin typeface="3M Circular TT Book"/>
                        </a:defRPr>
                      </a:lvl5pPr>
                      <a:lvl6pPr marL="2286000" algn="l" defTabSz="914400" rtl="0" eaLnBrk="1" latinLnBrk="0" hangingPunct="1">
                        <a:defRPr sz="1800" kern="1200">
                          <a:solidFill>
                            <a:schemeClr val="tx1"/>
                          </a:solidFill>
                          <a:latin typeface="3M Circular TT Book"/>
                        </a:defRPr>
                      </a:lvl6pPr>
                      <a:lvl7pPr marL="2743200" algn="l" defTabSz="914400" rtl="0" eaLnBrk="1" latinLnBrk="0" hangingPunct="1">
                        <a:defRPr sz="1800" kern="1200">
                          <a:solidFill>
                            <a:schemeClr val="tx1"/>
                          </a:solidFill>
                          <a:latin typeface="3M Circular TT Book"/>
                        </a:defRPr>
                      </a:lvl7pPr>
                      <a:lvl8pPr marL="3200400" algn="l" defTabSz="914400" rtl="0" eaLnBrk="1" latinLnBrk="0" hangingPunct="1">
                        <a:defRPr sz="1800" kern="1200">
                          <a:solidFill>
                            <a:schemeClr val="tx1"/>
                          </a:solidFill>
                          <a:latin typeface="3M Circular TT Book"/>
                        </a:defRPr>
                      </a:lvl8pPr>
                      <a:lvl9pPr marL="3657600" algn="l" defTabSz="914400" rtl="0" eaLnBrk="1" latinLnBrk="0" hangingPunct="1">
                        <a:defRPr sz="1800" kern="1200">
                          <a:solidFill>
                            <a:schemeClr val="tx1"/>
                          </a:solidFill>
                          <a:latin typeface="3M Circular TT Book"/>
                        </a:defRPr>
                      </a:lvl9pPr>
                    </a:lstStyle>
                    <a:p>
                      <a:pPr marL="169863" indent="-169863">
                        <a:buFont typeface="Wingdings" panose="05000000000000000000" pitchFamily="2" charset="2"/>
                        <a:buChar char="§"/>
                      </a:pPr>
                      <a:r>
                        <a:rPr lang="en-US" sz="1400" b="0" baseline="0" dirty="0">
                          <a:latin typeface="3M Circular TT Light" panose="020B0404020101020102" pitchFamily="34" charset="0"/>
                          <a:cs typeface="3M Circular TT Light" panose="020B0404020101020102" pitchFamily="34" charset="0"/>
                        </a:rPr>
                        <a:t>Decreases in nighttime </a:t>
                      </a:r>
                      <a:r>
                        <a:rPr lang="en-US" sz="1400" b="0" baseline="0" dirty="0" smtClean="0">
                          <a:latin typeface="3M Circular TT Light" panose="020B0404020101020102" pitchFamily="34" charset="0"/>
                          <a:cs typeface="3M Circular TT Light" panose="020B0404020101020102" pitchFamily="34" charset="0"/>
                        </a:rPr>
                        <a:t>crashes</a:t>
                      </a:r>
                      <a:endParaRPr lang="en-US" sz="1400" b="0" baseline="0" dirty="0">
                        <a:latin typeface="3M Circular TT Light" panose="020B0404020101020102" pitchFamily="34" charset="0"/>
                        <a:cs typeface="3M Circular TT Light" panose="020B0404020101020102" pitchFamily="34" charset="0"/>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 xmlns:a16="http://schemas.microsoft.com/office/drawing/2014/main" val="10002"/>
                  </a:ext>
                </a:extLst>
              </a:tr>
              <a:tr h="441312">
                <a:tc gridSpan="2">
                  <a:txBody>
                    <a:bodyPr/>
                    <a:lstStyle>
                      <a:lvl1pPr marL="0" algn="l" defTabSz="914400" rtl="0" eaLnBrk="1" latinLnBrk="0" hangingPunct="1">
                        <a:defRPr sz="1800" kern="1200">
                          <a:solidFill>
                            <a:schemeClr val="tx1"/>
                          </a:solidFill>
                          <a:latin typeface="3M Circular TT Book"/>
                        </a:defRPr>
                      </a:lvl1pPr>
                      <a:lvl2pPr marL="457200" algn="l" defTabSz="914400" rtl="0" eaLnBrk="1" latinLnBrk="0" hangingPunct="1">
                        <a:defRPr sz="1800" kern="1200">
                          <a:solidFill>
                            <a:schemeClr val="tx1"/>
                          </a:solidFill>
                          <a:latin typeface="3M Circular TT Book"/>
                        </a:defRPr>
                      </a:lvl2pPr>
                      <a:lvl3pPr marL="914400" algn="l" defTabSz="914400" rtl="0" eaLnBrk="1" latinLnBrk="0" hangingPunct="1">
                        <a:defRPr sz="1800" kern="1200">
                          <a:solidFill>
                            <a:schemeClr val="tx1"/>
                          </a:solidFill>
                          <a:latin typeface="3M Circular TT Book"/>
                        </a:defRPr>
                      </a:lvl3pPr>
                      <a:lvl4pPr marL="1371600" algn="l" defTabSz="914400" rtl="0" eaLnBrk="1" latinLnBrk="0" hangingPunct="1">
                        <a:defRPr sz="1800" kern="1200">
                          <a:solidFill>
                            <a:schemeClr val="tx1"/>
                          </a:solidFill>
                          <a:latin typeface="3M Circular TT Book"/>
                        </a:defRPr>
                      </a:lvl4pPr>
                      <a:lvl5pPr marL="1828800" algn="l" defTabSz="914400" rtl="0" eaLnBrk="1" latinLnBrk="0" hangingPunct="1">
                        <a:defRPr sz="1800" kern="1200">
                          <a:solidFill>
                            <a:schemeClr val="tx1"/>
                          </a:solidFill>
                          <a:latin typeface="3M Circular TT Book"/>
                        </a:defRPr>
                      </a:lvl5pPr>
                      <a:lvl6pPr marL="2286000" algn="l" defTabSz="914400" rtl="0" eaLnBrk="1" latinLnBrk="0" hangingPunct="1">
                        <a:defRPr sz="1800" kern="1200">
                          <a:solidFill>
                            <a:schemeClr val="tx1"/>
                          </a:solidFill>
                          <a:latin typeface="3M Circular TT Book"/>
                        </a:defRPr>
                      </a:lvl6pPr>
                      <a:lvl7pPr marL="2743200" algn="l" defTabSz="914400" rtl="0" eaLnBrk="1" latinLnBrk="0" hangingPunct="1">
                        <a:defRPr sz="1800" kern="1200">
                          <a:solidFill>
                            <a:schemeClr val="tx1"/>
                          </a:solidFill>
                          <a:latin typeface="3M Circular TT Book"/>
                        </a:defRPr>
                      </a:lvl7pPr>
                      <a:lvl8pPr marL="3200400" algn="l" defTabSz="914400" rtl="0" eaLnBrk="1" latinLnBrk="0" hangingPunct="1">
                        <a:defRPr sz="1800" kern="1200">
                          <a:solidFill>
                            <a:schemeClr val="tx1"/>
                          </a:solidFill>
                          <a:latin typeface="3M Circular TT Book"/>
                        </a:defRPr>
                      </a:lvl8pPr>
                      <a:lvl9pPr marL="3657600" algn="l" defTabSz="914400" rtl="0" eaLnBrk="1" latinLnBrk="0" hangingPunct="1">
                        <a:defRPr sz="1800" kern="1200">
                          <a:solidFill>
                            <a:schemeClr val="tx1"/>
                          </a:solidFill>
                          <a:latin typeface="3M Circular TT Book"/>
                        </a:defRPr>
                      </a:lvl9pPr>
                    </a:lstStyle>
                    <a:p>
                      <a:pPr marL="169863" indent="-169863">
                        <a:buFont typeface="Wingdings" panose="05000000000000000000" pitchFamily="2" charset="2"/>
                        <a:buChar char="§"/>
                      </a:pPr>
                      <a:r>
                        <a:rPr lang="en-US" sz="1400" b="0" baseline="0" dirty="0">
                          <a:latin typeface="3M Circular TT Light" panose="020B0404020101020102" pitchFamily="34" charset="0"/>
                          <a:cs typeface="3M Circular TT Light" panose="020B0404020101020102" pitchFamily="34" charset="0"/>
                        </a:rPr>
                        <a:t>Decreases in day </a:t>
                      </a:r>
                      <a:r>
                        <a:rPr lang="en-US" sz="1400" b="0" u="sng" baseline="0" dirty="0">
                          <a:latin typeface="3M Circular TT Light" panose="020B0404020101020102" pitchFamily="34" charset="0"/>
                          <a:cs typeface="3M Circular TT Light" panose="020B0404020101020102" pitchFamily="34" charset="0"/>
                        </a:rPr>
                        <a:t>and</a:t>
                      </a:r>
                      <a:r>
                        <a:rPr lang="en-US" sz="1400" b="0" u="none" baseline="0" dirty="0">
                          <a:latin typeface="3M Circular TT Light" panose="020B0404020101020102" pitchFamily="34" charset="0"/>
                          <a:cs typeface="3M Circular TT Light" panose="020B0404020101020102" pitchFamily="34" charset="0"/>
                        </a:rPr>
                        <a:t> nighttime wet weather </a:t>
                      </a:r>
                      <a:r>
                        <a:rPr lang="en-US" sz="1400" b="0" u="none" baseline="0" dirty="0" smtClean="0">
                          <a:latin typeface="3M Circular TT Light" panose="020B0404020101020102" pitchFamily="34" charset="0"/>
                          <a:cs typeface="3M Circular TT Light" panose="020B0404020101020102" pitchFamily="34" charset="0"/>
                        </a:rPr>
                        <a:t>crashes</a:t>
                      </a:r>
                      <a:endParaRPr lang="en-US" sz="1400" b="0" baseline="0" dirty="0">
                        <a:latin typeface="3M Circular TT Light" panose="020B0404020101020102" pitchFamily="34" charset="0"/>
                        <a:cs typeface="3M Circular TT Light" panose="020B0404020101020102" pitchFamily="34" charset="0"/>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 xmlns:a16="http://schemas.microsoft.com/office/drawing/2014/main" val="10003"/>
                  </a:ext>
                </a:extLst>
              </a:tr>
              <a:tr h="441312">
                <a:tc gridSpan="2">
                  <a:txBody>
                    <a:bodyPr/>
                    <a:lstStyle>
                      <a:lvl1pPr marL="0" algn="l" defTabSz="914400" rtl="0" eaLnBrk="1" latinLnBrk="0" hangingPunct="1">
                        <a:defRPr sz="1800" kern="1200">
                          <a:solidFill>
                            <a:schemeClr val="tx1"/>
                          </a:solidFill>
                          <a:latin typeface="3M Circular TT Book"/>
                        </a:defRPr>
                      </a:lvl1pPr>
                      <a:lvl2pPr marL="457200" algn="l" defTabSz="914400" rtl="0" eaLnBrk="1" latinLnBrk="0" hangingPunct="1">
                        <a:defRPr sz="1800" kern="1200">
                          <a:solidFill>
                            <a:schemeClr val="tx1"/>
                          </a:solidFill>
                          <a:latin typeface="3M Circular TT Book"/>
                        </a:defRPr>
                      </a:lvl2pPr>
                      <a:lvl3pPr marL="914400" algn="l" defTabSz="914400" rtl="0" eaLnBrk="1" latinLnBrk="0" hangingPunct="1">
                        <a:defRPr sz="1800" kern="1200">
                          <a:solidFill>
                            <a:schemeClr val="tx1"/>
                          </a:solidFill>
                          <a:latin typeface="3M Circular TT Book"/>
                        </a:defRPr>
                      </a:lvl3pPr>
                      <a:lvl4pPr marL="1371600" algn="l" defTabSz="914400" rtl="0" eaLnBrk="1" latinLnBrk="0" hangingPunct="1">
                        <a:defRPr sz="1800" kern="1200">
                          <a:solidFill>
                            <a:schemeClr val="tx1"/>
                          </a:solidFill>
                          <a:latin typeface="3M Circular TT Book"/>
                        </a:defRPr>
                      </a:lvl4pPr>
                      <a:lvl5pPr marL="1828800" algn="l" defTabSz="914400" rtl="0" eaLnBrk="1" latinLnBrk="0" hangingPunct="1">
                        <a:defRPr sz="1800" kern="1200">
                          <a:solidFill>
                            <a:schemeClr val="tx1"/>
                          </a:solidFill>
                          <a:latin typeface="3M Circular TT Book"/>
                        </a:defRPr>
                      </a:lvl5pPr>
                      <a:lvl6pPr marL="2286000" algn="l" defTabSz="914400" rtl="0" eaLnBrk="1" latinLnBrk="0" hangingPunct="1">
                        <a:defRPr sz="1800" kern="1200">
                          <a:solidFill>
                            <a:schemeClr val="tx1"/>
                          </a:solidFill>
                          <a:latin typeface="3M Circular TT Book"/>
                        </a:defRPr>
                      </a:lvl6pPr>
                      <a:lvl7pPr marL="2743200" algn="l" defTabSz="914400" rtl="0" eaLnBrk="1" latinLnBrk="0" hangingPunct="1">
                        <a:defRPr sz="1800" kern="1200">
                          <a:solidFill>
                            <a:schemeClr val="tx1"/>
                          </a:solidFill>
                          <a:latin typeface="3M Circular TT Book"/>
                        </a:defRPr>
                      </a:lvl7pPr>
                      <a:lvl8pPr marL="3200400" algn="l" defTabSz="914400" rtl="0" eaLnBrk="1" latinLnBrk="0" hangingPunct="1">
                        <a:defRPr sz="1800" kern="1200">
                          <a:solidFill>
                            <a:schemeClr val="tx1"/>
                          </a:solidFill>
                          <a:latin typeface="3M Circular TT Book"/>
                        </a:defRPr>
                      </a:lvl8pPr>
                      <a:lvl9pPr marL="3657600" algn="l" defTabSz="914400" rtl="0" eaLnBrk="1" latinLnBrk="0" hangingPunct="1">
                        <a:defRPr sz="1800" kern="1200">
                          <a:solidFill>
                            <a:schemeClr val="tx1"/>
                          </a:solidFill>
                          <a:latin typeface="3M Circular TT Book"/>
                        </a:defRPr>
                      </a:lvl9pPr>
                    </a:lstStyle>
                    <a:p>
                      <a:pPr marL="169863" indent="-169863">
                        <a:buFont typeface="Wingdings" panose="05000000000000000000" pitchFamily="2" charset="2"/>
                        <a:buChar char="§"/>
                      </a:pPr>
                      <a:r>
                        <a:rPr lang="en-US" sz="1400" b="0" baseline="0" dirty="0">
                          <a:latin typeface="3M Circular TT Light" panose="020B0404020101020102" pitchFamily="34" charset="0"/>
                          <a:cs typeface="3M Circular TT Light" panose="020B0404020101020102" pitchFamily="34" charset="0"/>
                        </a:rPr>
                        <a:t>Decreases in guidance related crashes (e.g.) </a:t>
                      </a:r>
                      <a:r>
                        <a:rPr lang="en-US" sz="1400" b="0" baseline="0" dirty="0" smtClean="0">
                          <a:latin typeface="3M Circular TT Light" panose="020B0404020101020102" pitchFamily="34" charset="0"/>
                          <a:cs typeface="3M Circular TT Light" panose="020B0404020101020102" pitchFamily="34" charset="0"/>
                        </a:rPr>
                        <a:t>sideswipes</a:t>
                      </a:r>
                      <a:endParaRPr lang="en-US" sz="1400" b="0" baseline="0" dirty="0">
                        <a:solidFill>
                          <a:srgbClr val="FF0000"/>
                        </a:solidFill>
                        <a:latin typeface="3M Circular TT Light" panose="020B0404020101020102" pitchFamily="34" charset="0"/>
                        <a:cs typeface="3M Circular TT Light" panose="020B0404020101020102" pitchFamily="34" charset="0"/>
                      </a:endParaRPr>
                    </a:p>
                  </a:txBody>
                  <a:tcPr anchor="ctr">
                    <a:lnL>
                      <a:noFill/>
                    </a:lnL>
                    <a:lnR>
                      <a:noFill/>
                    </a:lnR>
                    <a:lnT w="12700" cap="flat" cmpd="sng" algn="ctr">
                      <a:no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 xmlns:a16="http://schemas.microsoft.com/office/drawing/2014/main" val="10004"/>
                  </a:ext>
                </a:extLst>
              </a:tr>
              <a:tr h="441312">
                <a:tc gridSpan="2">
                  <a:txBody>
                    <a:bodyPr/>
                    <a:lstStyle>
                      <a:lvl1pPr marL="0" algn="l" defTabSz="914400" rtl="0" eaLnBrk="1" latinLnBrk="0" hangingPunct="1">
                        <a:defRPr sz="1800" kern="1200">
                          <a:solidFill>
                            <a:schemeClr val="tx1"/>
                          </a:solidFill>
                          <a:latin typeface="3M Circular TT Book"/>
                        </a:defRPr>
                      </a:lvl1pPr>
                      <a:lvl2pPr marL="457200" algn="l" defTabSz="914400" rtl="0" eaLnBrk="1" latinLnBrk="0" hangingPunct="1">
                        <a:defRPr sz="1800" kern="1200">
                          <a:solidFill>
                            <a:schemeClr val="tx1"/>
                          </a:solidFill>
                          <a:latin typeface="3M Circular TT Book"/>
                        </a:defRPr>
                      </a:lvl2pPr>
                      <a:lvl3pPr marL="914400" algn="l" defTabSz="914400" rtl="0" eaLnBrk="1" latinLnBrk="0" hangingPunct="1">
                        <a:defRPr sz="1800" kern="1200">
                          <a:solidFill>
                            <a:schemeClr val="tx1"/>
                          </a:solidFill>
                          <a:latin typeface="3M Circular TT Book"/>
                        </a:defRPr>
                      </a:lvl3pPr>
                      <a:lvl4pPr marL="1371600" algn="l" defTabSz="914400" rtl="0" eaLnBrk="1" latinLnBrk="0" hangingPunct="1">
                        <a:defRPr sz="1800" kern="1200">
                          <a:solidFill>
                            <a:schemeClr val="tx1"/>
                          </a:solidFill>
                          <a:latin typeface="3M Circular TT Book"/>
                        </a:defRPr>
                      </a:lvl4pPr>
                      <a:lvl5pPr marL="1828800" algn="l" defTabSz="914400" rtl="0" eaLnBrk="1" latinLnBrk="0" hangingPunct="1">
                        <a:defRPr sz="1800" kern="1200">
                          <a:solidFill>
                            <a:schemeClr val="tx1"/>
                          </a:solidFill>
                          <a:latin typeface="3M Circular TT Book"/>
                        </a:defRPr>
                      </a:lvl5pPr>
                      <a:lvl6pPr marL="2286000" algn="l" defTabSz="914400" rtl="0" eaLnBrk="1" latinLnBrk="0" hangingPunct="1">
                        <a:defRPr sz="1800" kern="1200">
                          <a:solidFill>
                            <a:schemeClr val="tx1"/>
                          </a:solidFill>
                          <a:latin typeface="3M Circular TT Book"/>
                        </a:defRPr>
                      </a:lvl6pPr>
                      <a:lvl7pPr marL="2743200" algn="l" defTabSz="914400" rtl="0" eaLnBrk="1" latinLnBrk="0" hangingPunct="1">
                        <a:defRPr sz="1800" kern="1200">
                          <a:solidFill>
                            <a:schemeClr val="tx1"/>
                          </a:solidFill>
                          <a:latin typeface="3M Circular TT Book"/>
                        </a:defRPr>
                      </a:lvl7pPr>
                      <a:lvl8pPr marL="3200400" algn="l" defTabSz="914400" rtl="0" eaLnBrk="1" latinLnBrk="0" hangingPunct="1">
                        <a:defRPr sz="1800" kern="1200">
                          <a:solidFill>
                            <a:schemeClr val="tx1"/>
                          </a:solidFill>
                          <a:latin typeface="3M Circular TT Book"/>
                        </a:defRPr>
                      </a:lvl8pPr>
                      <a:lvl9pPr marL="3657600" algn="l" defTabSz="914400" rtl="0" eaLnBrk="1" latinLnBrk="0" hangingPunct="1">
                        <a:defRPr sz="1800" kern="1200">
                          <a:solidFill>
                            <a:schemeClr val="tx1"/>
                          </a:solidFill>
                          <a:latin typeface="3M Circular TT Book"/>
                        </a:defRPr>
                      </a:lvl9pPr>
                    </a:lstStyle>
                    <a:p>
                      <a:pPr marL="0" indent="0" algn="l">
                        <a:buFont typeface="Wingdings" panose="05000000000000000000" pitchFamily="2" charset="2"/>
                        <a:buNone/>
                      </a:pPr>
                      <a:r>
                        <a:rPr lang="en-US" sz="1600" b="1" baseline="0" dirty="0">
                          <a:latin typeface="3M Circular TT Book" panose="020B0604020101020102" pitchFamily="34" charset="0"/>
                          <a:cs typeface="3M Circular TT Book" panose="020B0604020101020102" pitchFamily="34" charset="0"/>
                        </a:rPr>
                        <a:t>Typical Placement Locations of RPM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a:buFont typeface="Wingdings" panose="05000000000000000000" pitchFamily="2" charset="2"/>
                        <a:buNone/>
                      </a:pPr>
                      <a:endParaRPr lang="en-US" sz="1400" b="1" baseline="0" dirty="0">
                        <a:latin typeface="3M Circular TT Book" panose="020B0604020101020102" pitchFamily="34" charset="0"/>
                        <a:cs typeface="3M Circular TT Book" panose="020B0604020101020102"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 xmlns:a16="http://schemas.microsoft.com/office/drawing/2014/main" val="10005"/>
                  </a:ext>
                </a:extLst>
              </a:tr>
              <a:tr h="1933247">
                <a:tc>
                  <a:txBody>
                    <a:bodyPr/>
                    <a:lstStyle>
                      <a:lvl1pPr marL="0" algn="l" defTabSz="914400" rtl="0" eaLnBrk="1" latinLnBrk="0" hangingPunct="1">
                        <a:defRPr sz="1800" kern="1200">
                          <a:solidFill>
                            <a:schemeClr val="tx1"/>
                          </a:solidFill>
                          <a:latin typeface="3M Circular TT Book"/>
                        </a:defRPr>
                      </a:lvl1pPr>
                      <a:lvl2pPr marL="457200" algn="l" defTabSz="914400" rtl="0" eaLnBrk="1" latinLnBrk="0" hangingPunct="1">
                        <a:defRPr sz="1800" kern="1200">
                          <a:solidFill>
                            <a:schemeClr val="tx1"/>
                          </a:solidFill>
                          <a:latin typeface="3M Circular TT Book"/>
                        </a:defRPr>
                      </a:lvl2pPr>
                      <a:lvl3pPr marL="914400" algn="l" defTabSz="914400" rtl="0" eaLnBrk="1" latinLnBrk="0" hangingPunct="1">
                        <a:defRPr sz="1800" kern="1200">
                          <a:solidFill>
                            <a:schemeClr val="tx1"/>
                          </a:solidFill>
                          <a:latin typeface="3M Circular TT Book"/>
                        </a:defRPr>
                      </a:lvl3pPr>
                      <a:lvl4pPr marL="1371600" algn="l" defTabSz="914400" rtl="0" eaLnBrk="1" latinLnBrk="0" hangingPunct="1">
                        <a:defRPr sz="1800" kern="1200">
                          <a:solidFill>
                            <a:schemeClr val="tx1"/>
                          </a:solidFill>
                          <a:latin typeface="3M Circular TT Book"/>
                        </a:defRPr>
                      </a:lvl4pPr>
                      <a:lvl5pPr marL="1828800" algn="l" defTabSz="914400" rtl="0" eaLnBrk="1" latinLnBrk="0" hangingPunct="1">
                        <a:defRPr sz="1800" kern="1200">
                          <a:solidFill>
                            <a:schemeClr val="tx1"/>
                          </a:solidFill>
                          <a:latin typeface="3M Circular TT Book"/>
                        </a:defRPr>
                      </a:lvl5pPr>
                      <a:lvl6pPr marL="2286000" algn="l" defTabSz="914400" rtl="0" eaLnBrk="1" latinLnBrk="0" hangingPunct="1">
                        <a:defRPr sz="1800" kern="1200">
                          <a:solidFill>
                            <a:schemeClr val="tx1"/>
                          </a:solidFill>
                          <a:latin typeface="3M Circular TT Book"/>
                        </a:defRPr>
                      </a:lvl6pPr>
                      <a:lvl7pPr marL="2743200" algn="l" defTabSz="914400" rtl="0" eaLnBrk="1" latinLnBrk="0" hangingPunct="1">
                        <a:defRPr sz="1800" kern="1200">
                          <a:solidFill>
                            <a:schemeClr val="tx1"/>
                          </a:solidFill>
                          <a:latin typeface="3M Circular TT Book"/>
                        </a:defRPr>
                      </a:lvl7pPr>
                      <a:lvl8pPr marL="3200400" algn="l" defTabSz="914400" rtl="0" eaLnBrk="1" latinLnBrk="0" hangingPunct="1">
                        <a:defRPr sz="1800" kern="1200">
                          <a:solidFill>
                            <a:schemeClr val="tx1"/>
                          </a:solidFill>
                          <a:latin typeface="3M Circular TT Book"/>
                        </a:defRPr>
                      </a:lvl8pPr>
                      <a:lvl9pPr marL="3657600" algn="l" defTabSz="914400" rtl="0" eaLnBrk="1" latinLnBrk="0" hangingPunct="1">
                        <a:defRPr sz="1800" kern="1200">
                          <a:solidFill>
                            <a:schemeClr val="tx1"/>
                          </a:solidFill>
                          <a:latin typeface="3M Circular TT Book"/>
                        </a:defRPr>
                      </a:lvl9pPr>
                    </a:lstStyle>
                    <a:p>
                      <a:pPr marL="0" indent="0" algn="ctr">
                        <a:buFont typeface="Wingdings" panose="05000000000000000000" pitchFamily="2" charset="2"/>
                        <a:buNone/>
                      </a:pPr>
                      <a:r>
                        <a:rPr lang="en-US" sz="1400" b="0" i="1" baseline="0" dirty="0">
                          <a:latin typeface="3M Circular TT Light" panose="020B0404020101020102" pitchFamily="34" charset="0"/>
                          <a:cs typeface="3M Circular TT Light" panose="020B0404020101020102" pitchFamily="34" charset="0"/>
                        </a:rPr>
                        <a:t>Longitudinal Lane Marking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3M Circular TT Book"/>
                        </a:defRPr>
                      </a:lvl1pPr>
                      <a:lvl2pPr marL="457200" algn="l" defTabSz="914400" rtl="0" eaLnBrk="1" latinLnBrk="0" hangingPunct="1">
                        <a:defRPr sz="1800" kern="1200">
                          <a:solidFill>
                            <a:schemeClr val="tx1"/>
                          </a:solidFill>
                          <a:latin typeface="3M Circular TT Book"/>
                        </a:defRPr>
                      </a:lvl2pPr>
                      <a:lvl3pPr marL="914400" algn="l" defTabSz="914400" rtl="0" eaLnBrk="1" latinLnBrk="0" hangingPunct="1">
                        <a:defRPr sz="1800" kern="1200">
                          <a:solidFill>
                            <a:schemeClr val="tx1"/>
                          </a:solidFill>
                          <a:latin typeface="3M Circular TT Book"/>
                        </a:defRPr>
                      </a:lvl3pPr>
                      <a:lvl4pPr marL="1371600" algn="l" defTabSz="914400" rtl="0" eaLnBrk="1" latinLnBrk="0" hangingPunct="1">
                        <a:defRPr sz="1800" kern="1200">
                          <a:solidFill>
                            <a:schemeClr val="tx1"/>
                          </a:solidFill>
                          <a:latin typeface="3M Circular TT Book"/>
                        </a:defRPr>
                      </a:lvl4pPr>
                      <a:lvl5pPr marL="1828800" algn="l" defTabSz="914400" rtl="0" eaLnBrk="1" latinLnBrk="0" hangingPunct="1">
                        <a:defRPr sz="1800" kern="1200">
                          <a:solidFill>
                            <a:schemeClr val="tx1"/>
                          </a:solidFill>
                          <a:latin typeface="3M Circular TT Book"/>
                        </a:defRPr>
                      </a:lvl5pPr>
                      <a:lvl6pPr marL="2286000" algn="l" defTabSz="914400" rtl="0" eaLnBrk="1" latinLnBrk="0" hangingPunct="1">
                        <a:defRPr sz="1800" kern="1200">
                          <a:solidFill>
                            <a:schemeClr val="tx1"/>
                          </a:solidFill>
                          <a:latin typeface="3M Circular TT Book"/>
                        </a:defRPr>
                      </a:lvl6pPr>
                      <a:lvl7pPr marL="2743200" algn="l" defTabSz="914400" rtl="0" eaLnBrk="1" latinLnBrk="0" hangingPunct="1">
                        <a:defRPr sz="1800" kern="1200">
                          <a:solidFill>
                            <a:schemeClr val="tx1"/>
                          </a:solidFill>
                          <a:latin typeface="3M Circular TT Book"/>
                        </a:defRPr>
                      </a:lvl7pPr>
                      <a:lvl8pPr marL="3200400" algn="l" defTabSz="914400" rtl="0" eaLnBrk="1" latinLnBrk="0" hangingPunct="1">
                        <a:defRPr sz="1800" kern="1200">
                          <a:solidFill>
                            <a:schemeClr val="tx1"/>
                          </a:solidFill>
                          <a:latin typeface="3M Circular TT Book"/>
                        </a:defRPr>
                      </a:lvl8pPr>
                      <a:lvl9pPr marL="3657600" algn="l" defTabSz="914400" rtl="0" eaLnBrk="1" latinLnBrk="0" hangingPunct="1">
                        <a:defRPr sz="1800" kern="1200">
                          <a:solidFill>
                            <a:schemeClr val="tx1"/>
                          </a:solidFill>
                          <a:latin typeface="3M Circular TT Book"/>
                        </a:defRPr>
                      </a:lvl9pPr>
                    </a:lstStyle>
                    <a:p>
                      <a:pPr marL="0" indent="0" algn="ctr">
                        <a:buFont typeface="Wingdings" panose="05000000000000000000" pitchFamily="2" charset="2"/>
                        <a:buNone/>
                      </a:pPr>
                      <a:r>
                        <a:rPr lang="en-US" sz="1400" b="0" i="1" baseline="0" dirty="0">
                          <a:latin typeface="3M Circular TT Light" panose="020B0404020101020102" pitchFamily="34" charset="0"/>
                          <a:cs typeface="3M Circular TT Light" panose="020B0404020101020102" pitchFamily="34" charset="0"/>
                        </a:rPr>
                        <a:t>Other Marking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6"/>
                  </a:ext>
                </a:extLst>
              </a:tr>
            </a:tbl>
          </a:graphicData>
        </a:graphic>
      </p:graphicFrame>
      <p:sp>
        <p:nvSpPr>
          <p:cNvPr id="8" name="TextBox 7"/>
          <p:cNvSpPr txBox="1"/>
          <p:nvPr/>
        </p:nvSpPr>
        <p:spPr>
          <a:xfrm>
            <a:off x="379412" y="6244835"/>
            <a:ext cx="5400603" cy="307777"/>
          </a:xfrm>
          <a:prstGeom prst="rect">
            <a:avLst/>
          </a:prstGeom>
          <a:noFill/>
        </p:spPr>
        <p:txBody>
          <a:bodyPr wrap="square" lIns="0" tIns="0" rIns="0" bIns="0" rtlCol="0">
            <a:spAutoFit/>
          </a:bodyPr>
          <a:lstStyle/>
          <a:p>
            <a:pPr>
              <a:defRPr/>
            </a:pPr>
            <a:r>
              <a:rPr lang="en-US" sz="1000" kern="0" dirty="0"/>
              <a:t>*</a:t>
            </a:r>
            <a:r>
              <a:rPr lang="en-US" sz="1000" kern="0" dirty="0">
                <a:solidFill>
                  <a:prstClr val="black"/>
                </a:solidFill>
              </a:rPr>
              <a:t>Source: </a:t>
            </a:r>
            <a:r>
              <a:rPr lang="en-US" sz="1000" i="1" kern="0" dirty="0">
                <a:solidFill>
                  <a:prstClr val="black"/>
                </a:solidFill>
              </a:rPr>
              <a:t>Safety Evaluation of Permanent Raised Markers</a:t>
            </a:r>
            <a:r>
              <a:rPr lang="en-US" sz="1000" kern="0" dirty="0">
                <a:solidFill>
                  <a:prstClr val="black"/>
                </a:solidFill>
              </a:rPr>
              <a:t>, NCHRP Report 518, Transportation Research Board, 2004 |  Photos 3M</a:t>
            </a:r>
            <a:r>
              <a:rPr lang="en-US" sz="1000" kern="0" dirty="0">
                <a:solidFill>
                  <a:prstClr val="black"/>
                </a:solidFill>
                <a:latin typeface="3M Circular TT Bold" panose="020B0804020101010102" pitchFamily="34" charset="0"/>
                <a:cs typeface="3M Circular TT Bold" panose="020B0804020101010102" pitchFamily="34" charset="0"/>
              </a:rPr>
              <a:t>™</a:t>
            </a:r>
            <a:r>
              <a:rPr lang="en-US" sz="1000" kern="0" dirty="0">
                <a:solidFill>
                  <a:prstClr val="black"/>
                </a:solidFill>
              </a:rPr>
              <a:t> RPM 290 Installed in Israel, 2017</a:t>
            </a:r>
          </a:p>
        </p:txBody>
      </p:sp>
      <p:pic>
        <p:nvPicPr>
          <p:cNvPr id="9" name="Picture 8"/>
          <p:cNvPicPr>
            <a:picLocks noChangeAspect="1"/>
          </p:cNvPicPr>
          <p:nvPr/>
        </p:nvPicPr>
        <p:blipFill>
          <a:blip r:embed="rId6"/>
          <a:stretch>
            <a:fillRect/>
          </a:stretch>
        </p:blipFill>
        <p:spPr>
          <a:xfrm>
            <a:off x="573359" y="4189537"/>
            <a:ext cx="2102105" cy="1782557"/>
          </a:xfrm>
          <a:prstGeom prst="rect">
            <a:avLst/>
          </a:prstGeom>
        </p:spPr>
      </p:pic>
      <p:pic>
        <p:nvPicPr>
          <p:cNvPr id="10" name="Picture 9"/>
          <p:cNvPicPr>
            <a:picLocks noChangeAspect="1"/>
          </p:cNvPicPr>
          <p:nvPr/>
        </p:nvPicPr>
        <p:blipFill>
          <a:blip r:embed="rId7"/>
          <a:stretch>
            <a:fillRect/>
          </a:stretch>
        </p:blipFill>
        <p:spPr>
          <a:xfrm>
            <a:off x="3250318" y="4189537"/>
            <a:ext cx="2103120" cy="1782557"/>
          </a:xfrm>
          <a:prstGeom prst="rect">
            <a:avLst/>
          </a:prstGeom>
        </p:spPr>
      </p:pic>
      <p:pic>
        <p:nvPicPr>
          <p:cNvPr id="4" name="Picture 3"/>
          <p:cNvPicPr>
            <a:picLocks noChangeAspect="1"/>
          </p:cNvPicPr>
          <p:nvPr/>
        </p:nvPicPr>
        <p:blipFill>
          <a:blip r:embed="rId8"/>
          <a:stretch>
            <a:fillRect/>
          </a:stretch>
        </p:blipFill>
        <p:spPr>
          <a:xfrm>
            <a:off x="6057410" y="2449563"/>
            <a:ext cx="2919942" cy="2936439"/>
          </a:xfrm>
          <a:prstGeom prst="rect">
            <a:avLst/>
          </a:prstGeom>
        </p:spPr>
      </p:pic>
      <p:pic>
        <p:nvPicPr>
          <p:cNvPr id="11" name="Picture 10"/>
          <p:cNvPicPr>
            <a:picLocks noChangeAspect="1"/>
          </p:cNvPicPr>
          <p:nvPr/>
        </p:nvPicPr>
        <p:blipFill>
          <a:blip r:embed="rId9"/>
          <a:stretch>
            <a:fillRect/>
          </a:stretch>
        </p:blipFill>
        <p:spPr>
          <a:xfrm>
            <a:off x="9162343" y="2476592"/>
            <a:ext cx="2827297" cy="2907390"/>
          </a:xfrm>
          <a:prstGeom prst="rect">
            <a:avLst/>
          </a:prstGeom>
        </p:spPr>
      </p:pic>
    </p:spTree>
    <p:extLst>
      <p:ext uri="{BB962C8B-B14F-4D97-AF65-F5344CB8AC3E}">
        <p14:creationId xmlns:p14="http://schemas.microsoft.com/office/powerpoint/2010/main" val="2713761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6" name="Object 11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5" name="think-cell Slide" r:id="rId50" imgW="270" imgH="270" progId="TCLayout.ActiveDocument.1">
                  <p:embed/>
                </p:oleObj>
              </mc:Choice>
              <mc:Fallback>
                <p:oleObj name="think-cell Slide" r:id="rId50" imgW="270" imgH="270" progId="TCLayout.ActiveDocument.1">
                  <p:embed/>
                  <p:pic>
                    <p:nvPicPr>
                      <p:cNvPr id="0" name=""/>
                      <p:cNvPicPr/>
                      <p:nvPr/>
                    </p:nvPicPr>
                    <p:blipFill>
                      <a:blip r:embed="rId51"/>
                      <a:stretch>
                        <a:fillRect/>
                      </a:stretch>
                    </p:blipFill>
                    <p:spPr>
                      <a:xfrm>
                        <a:off x="1588" y="1588"/>
                        <a:ext cx="1587" cy="1587"/>
                      </a:xfrm>
                      <a:prstGeom prst="rect">
                        <a:avLst/>
                      </a:prstGeom>
                    </p:spPr>
                  </p:pic>
                </p:oleObj>
              </mc:Fallback>
            </mc:AlternateContent>
          </a:graphicData>
        </a:graphic>
      </p:graphicFrame>
      <p:sp>
        <p:nvSpPr>
          <p:cNvPr id="115" name="Rectangle 114" hidden="1"/>
          <p:cNvSpPr/>
          <p:nvPr>
            <p:custDataLst>
              <p:tags r:id="rId3"/>
            </p:custDataLst>
          </p:nvPr>
        </p:nvSpPr>
        <p:spPr bwMode="auto">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1000" dirty="0">
              <a:solidFill>
                <a:srgbClr val="FFFFFF"/>
              </a:solidFill>
              <a:sym typeface="+mn-lt"/>
            </a:endParaRPr>
          </a:p>
        </p:txBody>
      </p:sp>
      <p:sp>
        <p:nvSpPr>
          <p:cNvPr id="61" name="Title 1"/>
          <p:cNvSpPr>
            <a:spLocks noGrp="1"/>
          </p:cNvSpPr>
          <p:nvPr>
            <p:ph type="title"/>
          </p:nvPr>
        </p:nvSpPr>
        <p:spPr>
          <a:xfrm>
            <a:off x="373063" y="379414"/>
            <a:ext cx="11425237" cy="457200"/>
          </a:xfrm>
        </p:spPr>
        <p:txBody>
          <a:bodyPr/>
          <a:lstStyle/>
          <a:p>
            <a:r>
              <a:rPr lang="en-US" dirty="0"/>
              <a:t>RPMs Help Bring Families Home Safely </a:t>
            </a:r>
          </a:p>
        </p:txBody>
      </p:sp>
      <p:sp>
        <p:nvSpPr>
          <p:cNvPr id="62" name="Text Placeholder 3"/>
          <p:cNvSpPr>
            <a:spLocks noGrp="1"/>
          </p:cNvSpPr>
          <p:nvPr>
            <p:ph type="body" sz="quarter" idx="10"/>
          </p:nvPr>
        </p:nvSpPr>
        <p:spPr>
          <a:xfrm>
            <a:off x="374650" y="841248"/>
            <a:ext cx="11430000" cy="365760"/>
          </a:xfrm>
        </p:spPr>
        <p:txBody>
          <a:bodyPr/>
          <a:lstStyle/>
          <a:p>
            <a:r>
              <a:rPr lang="en-US" sz="2000" dirty="0">
                <a:solidFill>
                  <a:schemeClr val="tx1">
                    <a:lumMod val="50000"/>
                    <a:lumOff val="50000"/>
                  </a:schemeClr>
                </a:solidFill>
              </a:rPr>
              <a:t>RPMs reduce crashes, help save lives and drivers find them useful </a:t>
            </a:r>
          </a:p>
        </p:txBody>
      </p:sp>
      <p:sp>
        <p:nvSpPr>
          <p:cNvPr id="63" name="TextBox 62"/>
          <p:cNvSpPr txBox="1"/>
          <p:nvPr/>
        </p:nvSpPr>
        <p:spPr>
          <a:xfrm>
            <a:off x="400593" y="6244835"/>
            <a:ext cx="6978107" cy="307777"/>
          </a:xfrm>
          <a:prstGeom prst="rect">
            <a:avLst/>
          </a:prstGeom>
          <a:noFill/>
        </p:spPr>
        <p:txBody>
          <a:bodyPr wrap="square" lIns="0" tIns="0" rIns="0" bIns="0" rtlCol="0">
            <a:spAutoFit/>
          </a:bodyPr>
          <a:lstStyle/>
          <a:p>
            <a:r>
              <a:rPr lang="en-US" sz="1000" dirty="0">
                <a:solidFill>
                  <a:prstClr val="black"/>
                </a:solidFill>
              </a:rPr>
              <a:t>Source: </a:t>
            </a:r>
            <a:r>
              <a:rPr lang="en-US" sz="1000" baseline="30000" dirty="0">
                <a:solidFill>
                  <a:schemeClr val="accent6"/>
                </a:solidFill>
              </a:rPr>
              <a:t>1</a:t>
            </a:r>
            <a:r>
              <a:rPr lang="en-US" sz="1000" i="1" dirty="0">
                <a:solidFill>
                  <a:prstClr val="black"/>
                </a:solidFill>
              </a:rPr>
              <a:t>Safety Evaluation of Permanent Raised Markers</a:t>
            </a:r>
            <a:r>
              <a:rPr lang="en-US" sz="1000" dirty="0">
                <a:solidFill>
                  <a:prstClr val="black"/>
                </a:solidFill>
              </a:rPr>
              <a:t>, NCHRP Report 518, Transportation Research Board, 2004</a:t>
            </a:r>
          </a:p>
          <a:p>
            <a:r>
              <a:rPr lang="en-US" sz="1000" i="1" baseline="30000" dirty="0">
                <a:solidFill>
                  <a:schemeClr val="accent6"/>
                </a:solidFill>
              </a:rPr>
              <a:t>2</a:t>
            </a:r>
            <a:r>
              <a:rPr lang="en-US" sz="1000" i="1" dirty="0">
                <a:solidFill>
                  <a:prstClr val="black"/>
                </a:solidFill>
              </a:rPr>
              <a:t>St. Louis Inlaid Pavement Marker Survey,</a:t>
            </a:r>
            <a:r>
              <a:rPr lang="en-US" sz="1000" dirty="0">
                <a:solidFill>
                  <a:prstClr val="black"/>
                </a:solidFill>
              </a:rPr>
              <a:t> </a:t>
            </a:r>
            <a:r>
              <a:rPr lang="en-US" sz="1000" dirty="0" err="1">
                <a:solidFill>
                  <a:prstClr val="black"/>
                </a:solidFill>
              </a:rPr>
              <a:t>MoDOT</a:t>
            </a:r>
            <a:r>
              <a:rPr lang="en-US" sz="1000" dirty="0">
                <a:solidFill>
                  <a:prstClr val="black"/>
                </a:solidFill>
              </a:rPr>
              <a:t> #TR201611, Applied Research Associates, 2017 </a:t>
            </a:r>
            <a:endParaRPr lang="en-US" sz="1000" i="1" dirty="0">
              <a:solidFill>
                <a:prstClr val="black"/>
              </a:solidFill>
            </a:endParaRPr>
          </a:p>
        </p:txBody>
      </p:sp>
      <p:graphicFrame>
        <p:nvGraphicFramePr>
          <p:cNvPr id="64" name="Object 63"/>
          <p:cNvGraphicFramePr>
            <a:graphicFrameLocks/>
          </p:cNvGraphicFramePr>
          <p:nvPr>
            <p:custDataLst>
              <p:tags r:id="rId4"/>
            </p:custDataLst>
            <p:extLst/>
          </p:nvPr>
        </p:nvGraphicFramePr>
        <p:xfrm>
          <a:off x="647700" y="2057400"/>
          <a:ext cx="5181690" cy="3771900"/>
        </p:xfrm>
        <a:graphic>
          <a:graphicData uri="http://schemas.openxmlformats.org/presentationml/2006/ole">
            <mc:AlternateContent xmlns:mc="http://schemas.openxmlformats.org/markup-compatibility/2006">
              <mc:Choice xmlns:v="urn:schemas-microsoft-com:vml" Requires="v">
                <p:oleObj spid="_x0000_s52266" name="Chart" r:id="rId52" imgW="5181690" imgH="3771900" progId="MSGraph.Chart.8">
                  <p:embed followColorScheme="full"/>
                </p:oleObj>
              </mc:Choice>
              <mc:Fallback>
                <p:oleObj name="Chart" r:id="rId52" imgW="5181690" imgH="3771900" progId="MSGraph.Chart.8">
                  <p:embed followColorScheme="full"/>
                  <p:pic>
                    <p:nvPicPr>
                      <p:cNvPr id="0" name=""/>
                      <p:cNvPicPr/>
                      <p:nvPr/>
                    </p:nvPicPr>
                    <p:blipFill>
                      <a:blip r:embed="rId53"/>
                      <a:stretch>
                        <a:fillRect/>
                      </a:stretch>
                    </p:blipFill>
                    <p:spPr>
                      <a:xfrm>
                        <a:off x="647700" y="2057400"/>
                        <a:ext cx="5181690" cy="3771900"/>
                      </a:xfrm>
                      <a:prstGeom prst="rect">
                        <a:avLst/>
                      </a:prstGeom>
                    </p:spPr>
                  </p:pic>
                </p:oleObj>
              </mc:Fallback>
            </mc:AlternateContent>
          </a:graphicData>
        </a:graphic>
      </p:graphicFrame>
      <p:sp>
        <p:nvSpPr>
          <p:cNvPr id="75" name="Text Placeholder 2"/>
          <p:cNvSpPr>
            <a:spLocks noGrp="1"/>
          </p:cNvSpPr>
          <p:nvPr>
            <p:custDataLst>
              <p:tags r:id="rId5"/>
            </p:custDataLst>
          </p:nvPr>
        </p:nvSpPr>
        <p:spPr bwMode="gray">
          <a:xfrm>
            <a:off x="450850" y="2809875"/>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r>
              <a:rPr sz="1000">
                <a:solidFill>
                  <a:prstClr val="black"/>
                </a:solidFill>
                <a:sym typeface="+mn-lt"/>
              </a:rPr>
              <a:t>80%</a:t>
            </a:r>
          </a:p>
        </p:txBody>
      </p:sp>
      <p:sp>
        <p:nvSpPr>
          <p:cNvPr id="70" name="Text Placeholder 2"/>
          <p:cNvSpPr>
            <a:spLocks noGrp="1"/>
          </p:cNvSpPr>
          <p:nvPr>
            <p:custDataLst>
              <p:tags r:id="rId6"/>
            </p:custDataLst>
          </p:nvPr>
        </p:nvSpPr>
        <p:spPr bwMode="gray">
          <a:xfrm>
            <a:off x="460375" y="3162300"/>
            <a:ext cx="257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r>
              <a:rPr altLang="en-US" sz="1000">
                <a:solidFill>
                  <a:prstClr val="black"/>
                </a:solidFill>
                <a:sym typeface="+mn-lt"/>
              </a:rPr>
              <a:t>70%</a:t>
            </a:r>
            <a:endParaRPr sz="1000">
              <a:solidFill>
                <a:prstClr val="black"/>
              </a:solidFill>
              <a:sym typeface="+mn-lt"/>
            </a:endParaRPr>
          </a:p>
        </p:txBody>
      </p:sp>
      <p:sp>
        <p:nvSpPr>
          <p:cNvPr id="71" name="Text Placeholder 2"/>
          <p:cNvSpPr>
            <a:spLocks noGrp="1"/>
          </p:cNvSpPr>
          <p:nvPr>
            <p:custDataLst>
              <p:tags r:id="rId7"/>
            </p:custDataLst>
          </p:nvPr>
        </p:nvSpPr>
        <p:spPr bwMode="gray">
          <a:xfrm>
            <a:off x="449263" y="3514725"/>
            <a:ext cx="268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r>
              <a:rPr altLang="en-US" sz="1000">
                <a:solidFill>
                  <a:prstClr val="black"/>
                </a:solidFill>
                <a:sym typeface="+mn-lt"/>
              </a:rPr>
              <a:t>60%</a:t>
            </a:r>
            <a:endParaRPr sz="1000">
              <a:solidFill>
                <a:prstClr val="black"/>
              </a:solidFill>
              <a:sym typeface="+mn-lt"/>
            </a:endParaRPr>
          </a:p>
        </p:txBody>
      </p:sp>
      <p:sp>
        <p:nvSpPr>
          <p:cNvPr id="72" name="Text Placeholder 2"/>
          <p:cNvSpPr>
            <a:spLocks noGrp="1"/>
          </p:cNvSpPr>
          <p:nvPr>
            <p:custDataLst>
              <p:tags r:id="rId8"/>
            </p:custDataLst>
          </p:nvPr>
        </p:nvSpPr>
        <p:spPr bwMode="gray">
          <a:xfrm>
            <a:off x="455613" y="3876675"/>
            <a:ext cx="2619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r>
              <a:rPr altLang="en-US" sz="1000">
                <a:solidFill>
                  <a:prstClr val="black"/>
                </a:solidFill>
                <a:sym typeface="+mn-lt"/>
              </a:rPr>
              <a:t>50%</a:t>
            </a:r>
            <a:endParaRPr sz="1000">
              <a:solidFill>
                <a:prstClr val="black"/>
              </a:solidFill>
              <a:sym typeface="+mn-lt"/>
            </a:endParaRPr>
          </a:p>
        </p:txBody>
      </p:sp>
      <p:sp>
        <p:nvSpPr>
          <p:cNvPr id="65" name="Text Placeholder 2"/>
          <p:cNvSpPr>
            <a:spLocks noGrp="1"/>
          </p:cNvSpPr>
          <p:nvPr>
            <p:custDataLst>
              <p:tags r:id="rId9"/>
            </p:custDataLst>
          </p:nvPr>
        </p:nvSpPr>
        <p:spPr bwMode="gray">
          <a:xfrm>
            <a:off x="450850" y="4229100"/>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r>
              <a:rPr altLang="en-US" sz="1000">
                <a:solidFill>
                  <a:prstClr val="black"/>
                </a:solidFill>
                <a:sym typeface="+mn-lt"/>
              </a:rPr>
              <a:t>40%</a:t>
            </a:r>
            <a:endParaRPr sz="1000">
              <a:solidFill>
                <a:prstClr val="black"/>
              </a:solidFill>
              <a:sym typeface="+mn-lt"/>
            </a:endParaRPr>
          </a:p>
        </p:txBody>
      </p:sp>
      <p:sp>
        <p:nvSpPr>
          <p:cNvPr id="66" name="Text Placeholder 2"/>
          <p:cNvSpPr>
            <a:spLocks noGrp="1"/>
          </p:cNvSpPr>
          <p:nvPr>
            <p:custDataLst>
              <p:tags r:id="rId10"/>
            </p:custDataLst>
          </p:nvPr>
        </p:nvSpPr>
        <p:spPr bwMode="gray">
          <a:xfrm>
            <a:off x="452438" y="4581525"/>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r>
              <a:rPr altLang="en-US" sz="1000">
                <a:solidFill>
                  <a:prstClr val="black"/>
                </a:solidFill>
                <a:sym typeface="+mn-lt"/>
              </a:rPr>
              <a:t>30%</a:t>
            </a:r>
            <a:endParaRPr sz="1000">
              <a:solidFill>
                <a:prstClr val="black"/>
              </a:solidFill>
              <a:sym typeface="+mn-lt"/>
            </a:endParaRPr>
          </a:p>
        </p:txBody>
      </p:sp>
      <p:sp>
        <p:nvSpPr>
          <p:cNvPr id="67" name="Text Placeholder 2"/>
          <p:cNvSpPr>
            <a:spLocks noGrp="1"/>
          </p:cNvSpPr>
          <p:nvPr>
            <p:custDataLst>
              <p:tags r:id="rId11"/>
            </p:custDataLst>
          </p:nvPr>
        </p:nvSpPr>
        <p:spPr bwMode="gray">
          <a:xfrm>
            <a:off x="455613" y="4933950"/>
            <a:ext cx="2619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r>
              <a:rPr altLang="en-US" sz="1000">
                <a:solidFill>
                  <a:prstClr val="black"/>
                </a:solidFill>
                <a:sym typeface="+mn-lt"/>
              </a:rPr>
              <a:t>20%</a:t>
            </a:r>
            <a:endParaRPr sz="1000">
              <a:solidFill>
                <a:prstClr val="black"/>
              </a:solidFill>
              <a:sym typeface="+mn-lt"/>
            </a:endParaRPr>
          </a:p>
        </p:txBody>
      </p:sp>
      <p:sp>
        <p:nvSpPr>
          <p:cNvPr id="68" name="Text Placeholder 2"/>
          <p:cNvSpPr>
            <a:spLocks noGrp="1"/>
          </p:cNvSpPr>
          <p:nvPr>
            <p:custDataLst>
              <p:tags r:id="rId12"/>
            </p:custDataLst>
          </p:nvPr>
        </p:nvSpPr>
        <p:spPr bwMode="gray">
          <a:xfrm>
            <a:off x="484188" y="5295900"/>
            <a:ext cx="2333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r>
              <a:rPr altLang="en-US" sz="1000">
                <a:solidFill>
                  <a:prstClr val="black"/>
                </a:solidFill>
                <a:sym typeface="+mn-lt"/>
              </a:rPr>
              <a:t>10%</a:t>
            </a:r>
            <a:endParaRPr sz="1000">
              <a:solidFill>
                <a:prstClr val="black"/>
              </a:solidFill>
              <a:sym typeface="+mn-lt"/>
            </a:endParaRPr>
          </a:p>
        </p:txBody>
      </p:sp>
      <p:sp>
        <p:nvSpPr>
          <p:cNvPr id="69" name="Text Placeholder 2"/>
          <p:cNvSpPr>
            <a:spLocks noGrp="1"/>
          </p:cNvSpPr>
          <p:nvPr>
            <p:custDataLst>
              <p:tags r:id="rId13"/>
            </p:custDataLst>
          </p:nvPr>
        </p:nvSpPr>
        <p:spPr bwMode="gray">
          <a:xfrm>
            <a:off x="530225" y="5648325"/>
            <a:ext cx="1873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r>
              <a:rPr altLang="en-US" sz="1000">
                <a:solidFill>
                  <a:prstClr val="black"/>
                </a:solidFill>
                <a:sym typeface="+mn-lt"/>
              </a:rPr>
              <a:t>0%</a:t>
            </a:r>
            <a:endParaRPr sz="1000">
              <a:solidFill>
                <a:prstClr val="black"/>
              </a:solidFill>
              <a:sym typeface="+mn-lt"/>
            </a:endParaRPr>
          </a:p>
        </p:txBody>
      </p:sp>
      <p:sp>
        <p:nvSpPr>
          <p:cNvPr id="73" name="Text Placeholder 2"/>
          <p:cNvSpPr>
            <a:spLocks noGrp="1"/>
          </p:cNvSpPr>
          <p:nvPr>
            <p:custDataLst>
              <p:tags r:id="rId14"/>
            </p:custDataLst>
          </p:nvPr>
        </p:nvSpPr>
        <p:spPr bwMode="gray">
          <a:xfrm>
            <a:off x="401638" y="2095500"/>
            <a:ext cx="3159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r>
              <a:rPr altLang="en-US" sz="1000">
                <a:solidFill>
                  <a:prstClr val="black"/>
                </a:solidFill>
                <a:sym typeface="+mn-lt"/>
              </a:rPr>
              <a:t>100%</a:t>
            </a:r>
            <a:endParaRPr sz="1000">
              <a:solidFill>
                <a:prstClr val="black"/>
              </a:solidFill>
              <a:sym typeface="+mn-lt"/>
            </a:endParaRPr>
          </a:p>
        </p:txBody>
      </p:sp>
      <p:sp>
        <p:nvSpPr>
          <p:cNvPr id="74" name="Text Placeholder 2"/>
          <p:cNvSpPr>
            <a:spLocks noGrp="1"/>
          </p:cNvSpPr>
          <p:nvPr>
            <p:custDataLst>
              <p:tags r:id="rId15"/>
            </p:custDataLst>
          </p:nvPr>
        </p:nvSpPr>
        <p:spPr bwMode="gray">
          <a:xfrm>
            <a:off x="450850" y="2447925"/>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r>
              <a:rPr altLang="en-US" sz="1000">
                <a:solidFill>
                  <a:prstClr val="black"/>
                </a:solidFill>
                <a:sym typeface="+mn-lt"/>
              </a:rPr>
              <a:t>90%</a:t>
            </a:r>
            <a:endParaRPr sz="1000">
              <a:solidFill>
                <a:prstClr val="black"/>
              </a:solidFill>
              <a:sym typeface="+mn-lt"/>
            </a:endParaRPr>
          </a:p>
        </p:txBody>
      </p:sp>
      <p:cxnSp>
        <p:nvCxnSpPr>
          <p:cNvPr id="76" name="Straight Connector 75"/>
          <p:cNvCxnSpPr/>
          <p:nvPr>
            <p:custDataLst>
              <p:tags r:id="rId16"/>
            </p:custDataLst>
          </p:nvPr>
        </p:nvCxnSpPr>
        <p:spPr bwMode="auto">
          <a:xfrm>
            <a:off x="1604963" y="1920875"/>
            <a:ext cx="881063"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custDataLst>
              <p:tags r:id="rId17"/>
            </p:custDataLst>
          </p:nvPr>
        </p:nvCxnSpPr>
        <p:spPr bwMode="auto">
          <a:xfrm>
            <a:off x="4057650" y="1920875"/>
            <a:ext cx="876300"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custDataLst>
              <p:tags r:id="rId18"/>
            </p:custDataLst>
          </p:nvPr>
        </p:nvCxnSpPr>
        <p:spPr bwMode="auto">
          <a:xfrm flipV="1">
            <a:off x="1604963" y="1920875"/>
            <a:ext cx="0" cy="2127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custDataLst>
              <p:tags r:id="rId19"/>
            </p:custDataLst>
          </p:nvPr>
        </p:nvCxnSpPr>
        <p:spPr bwMode="auto">
          <a:xfrm>
            <a:off x="2486025" y="1920875"/>
            <a:ext cx="0" cy="106997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custDataLst>
              <p:tags r:id="rId20"/>
            </p:custDataLst>
          </p:nvPr>
        </p:nvCxnSpPr>
        <p:spPr bwMode="auto">
          <a:xfrm>
            <a:off x="4933950" y="1920875"/>
            <a:ext cx="0" cy="422275"/>
          </a:xfrm>
          <a:prstGeom prst="line">
            <a:avLst/>
          </a:prstGeom>
          <a:ln w="12700">
            <a:solidFill>
              <a:schemeClr val="tx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custDataLst>
              <p:tags r:id="rId21"/>
            </p:custDataLst>
          </p:nvPr>
        </p:nvCxnSpPr>
        <p:spPr bwMode="auto">
          <a:xfrm flipV="1">
            <a:off x="4057650" y="1920875"/>
            <a:ext cx="0" cy="212725"/>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Text Placeholder 2"/>
          <p:cNvSpPr>
            <a:spLocks noGrp="1"/>
          </p:cNvSpPr>
          <p:nvPr>
            <p:custDataLst>
              <p:tags r:id="rId22"/>
            </p:custDataLst>
          </p:nvPr>
        </p:nvSpPr>
        <p:spPr bwMode="auto">
          <a:xfrm>
            <a:off x="3336925" y="1784350"/>
            <a:ext cx="2319338"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90000"/>
              </a:lnSpc>
              <a:spcBef>
                <a:spcPct val="0"/>
              </a:spcBef>
              <a:spcAft>
                <a:spcPct val="0"/>
              </a:spcAft>
            </a:pPr>
            <a:r>
              <a:rPr altLang="en-US" sz="1400" b="1">
                <a:solidFill>
                  <a:prstClr val="black"/>
                </a:solidFill>
                <a:sym typeface="+mn-lt"/>
              </a:rPr>
              <a:t>6% Crash Reduction</a:t>
            </a:r>
            <a:endParaRPr sz="1400" b="1">
              <a:solidFill>
                <a:prstClr val="black"/>
              </a:solidFill>
              <a:sym typeface="+mn-lt"/>
            </a:endParaRPr>
          </a:p>
        </p:txBody>
      </p:sp>
      <p:sp>
        <p:nvSpPr>
          <p:cNvPr id="82" name="Text Placeholder 2"/>
          <p:cNvSpPr>
            <a:spLocks noGrp="1"/>
          </p:cNvSpPr>
          <p:nvPr>
            <p:custDataLst>
              <p:tags r:id="rId23"/>
            </p:custDataLst>
          </p:nvPr>
        </p:nvSpPr>
        <p:spPr bwMode="auto">
          <a:xfrm>
            <a:off x="812800" y="1784350"/>
            <a:ext cx="2463800" cy="273050"/>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90000"/>
              </a:lnSpc>
              <a:spcBef>
                <a:spcPct val="0"/>
              </a:spcBef>
              <a:spcAft>
                <a:spcPct val="0"/>
              </a:spcAft>
            </a:pPr>
            <a:r>
              <a:rPr altLang="en-US" sz="1400" b="1">
                <a:solidFill>
                  <a:prstClr val="black"/>
                </a:solidFill>
                <a:sym typeface="+mn-lt"/>
              </a:rPr>
              <a:t>24% Crash Reduction</a:t>
            </a:r>
            <a:endParaRPr sz="1400" b="1">
              <a:solidFill>
                <a:prstClr val="black"/>
              </a:solidFill>
              <a:sym typeface="+mn-lt"/>
            </a:endParaRPr>
          </a:p>
        </p:txBody>
      </p:sp>
      <p:sp>
        <p:nvSpPr>
          <p:cNvPr id="86" name="Text Placeholder 2"/>
          <p:cNvSpPr>
            <a:spLocks noGrp="1"/>
          </p:cNvSpPr>
          <p:nvPr>
            <p:custDataLst>
              <p:tags r:id="rId24"/>
            </p:custDataLst>
          </p:nvPr>
        </p:nvSpPr>
        <p:spPr bwMode="auto">
          <a:xfrm>
            <a:off x="3563938" y="5799138"/>
            <a:ext cx="1865313" cy="3048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38574A55-4A9D-4740-BCC2-BFCECB0B78AA}" type="datetime'Four L''a''n''e F''reeways (Undivided) with AADT ''&gt; 20,0''00'">
              <a:rPr altLang="en-US" sz="1000">
                <a:solidFill>
                  <a:srgbClr val="000000"/>
                </a:solidFill>
              </a:rPr>
              <a:pPr algn="ctr">
                <a:lnSpc>
                  <a:spcPct val="100000"/>
                </a:lnSpc>
                <a:spcBef>
                  <a:spcPct val="0"/>
                </a:spcBef>
                <a:spcAft>
                  <a:spcPct val="0"/>
                </a:spcAft>
              </a:pPr>
              <a:t>Four Lane Freeways (Undivided) with AADT &gt; 20,000</a:t>
            </a:fld>
            <a:endParaRPr sz="1000">
              <a:solidFill>
                <a:srgbClr val="000000"/>
              </a:solidFill>
              <a:sym typeface="+mn-lt"/>
            </a:endParaRPr>
          </a:p>
        </p:txBody>
      </p:sp>
      <p:sp>
        <p:nvSpPr>
          <p:cNvPr id="85" name="Text Placeholder 2"/>
          <p:cNvSpPr>
            <a:spLocks noGrp="1"/>
          </p:cNvSpPr>
          <p:nvPr>
            <p:custDataLst>
              <p:tags r:id="rId25"/>
            </p:custDataLst>
          </p:nvPr>
        </p:nvSpPr>
        <p:spPr bwMode="auto">
          <a:xfrm>
            <a:off x="1231900" y="5799138"/>
            <a:ext cx="1624013" cy="3048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8826C9DF-1C7D-41CC-AA49-CA4B13E38A83}" type="datetime'''Two L''ane Roads wit''h AADT ''&gt; 15,000 and'' ''DOC &lt;''3.5'">
              <a:rPr altLang="en-US" sz="1000">
                <a:solidFill>
                  <a:srgbClr val="000000"/>
                </a:solidFill>
              </a:rPr>
              <a:pPr algn="ctr">
                <a:lnSpc>
                  <a:spcPct val="100000"/>
                </a:lnSpc>
                <a:spcBef>
                  <a:spcPct val="0"/>
                </a:spcBef>
                <a:spcAft>
                  <a:spcPct val="0"/>
                </a:spcAft>
              </a:pPr>
              <a:t>Two Lane Roads with AADT &gt; 15,000 and DOC &lt;3.5</a:t>
            </a:fld>
            <a:endParaRPr sz="1000">
              <a:solidFill>
                <a:srgbClr val="000000"/>
              </a:solidFill>
              <a:sym typeface="+mn-lt"/>
            </a:endParaRPr>
          </a:p>
        </p:txBody>
      </p:sp>
      <p:sp>
        <p:nvSpPr>
          <p:cNvPr id="83" name="Text Placeholder 2"/>
          <p:cNvSpPr>
            <a:spLocks noGrp="1"/>
          </p:cNvSpPr>
          <p:nvPr>
            <p:custDataLst>
              <p:tags r:id="rId26"/>
            </p:custDataLst>
          </p:nvPr>
        </p:nvSpPr>
        <p:spPr bwMode="auto">
          <a:xfrm flipV="1">
            <a:off x="106363" y="3648075"/>
            <a:ext cx="152400" cy="600075"/>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b"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r>
              <a:rPr sz="1000">
                <a:solidFill>
                  <a:prstClr val="black"/>
                </a:solidFill>
                <a:sym typeface="+mn-lt"/>
              </a:rPr>
              <a:t>Crashes %</a:t>
            </a:r>
          </a:p>
        </p:txBody>
      </p:sp>
      <p:sp>
        <p:nvSpPr>
          <p:cNvPr id="87" name="TextBox 86"/>
          <p:cNvSpPr txBox="1"/>
          <p:nvPr/>
        </p:nvSpPr>
        <p:spPr>
          <a:xfrm>
            <a:off x="1184275" y="3800660"/>
            <a:ext cx="867802" cy="492443"/>
          </a:xfrm>
          <a:prstGeom prst="rect">
            <a:avLst/>
          </a:prstGeom>
          <a:noFill/>
        </p:spPr>
        <p:txBody>
          <a:bodyPr wrap="square" lIns="0" tIns="0" rIns="0" bIns="0" rtlCol="0">
            <a:spAutoFit/>
          </a:bodyPr>
          <a:lstStyle/>
          <a:p>
            <a:pPr algn="ctr"/>
            <a:r>
              <a:rPr lang="en-US" sz="1600" dirty="0">
                <a:solidFill>
                  <a:srgbClr val="FFFFFF"/>
                </a:solidFill>
              </a:rPr>
              <a:t>No RPMs Installed</a:t>
            </a:r>
          </a:p>
        </p:txBody>
      </p:sp>
      <p:sp>
        <p:nvSpPr>
          <p:cNvPr id="88" name="TextBox 87"/>
          <p:cNvSpPr txBox="1"/>
          <p:nvPr/>
        </p:nvSpPr>
        <p:spPr>
          <a:xfrm>
            <a:off x="2101850" y="3800659"/>
            <a:ext cx="797224" cy="492443"/>
          </a:xfrm>
          <a:prstGeom prst="rect">
            <a:avLst/>
          </a:prstGeom>
          <a:noFill/>
        </p:spPr>
        <p:txBody>
          <a:bodyPr wrap="square" lIns="0" tIns="0" rIns="0" bIns="0" rtlCol="0">
            <a:spAutoFit/>
          </a:bodyPr>
          <a:lstStyle/>
          <a:p>
            <a:pPr algn="ctr"/>
            <a:r>
              <a:rPr lang="en-US" sz="1600" dirty="0">
                <a:solidFill>
                  <a:srgbClr val="FFFFFF"/>
                </a:solidFill>
              </a:rPr>
              <a:t>RPMs Installed</a:t>
            </a:r>
          </a:p>
        </p:txBody>
      </p:sp>
      <p:sp>
        <p:nvSpPr>
          <p:cNvPr id="89" name="TextBox 88"/>
          <p:cNvSpPr txBox="1"/>
          <p:nvPr/>
        </p:nvSpPr>
        <p:spPr>
          <a:xfrm>
            <a:off x="801743" y="1343410"/>
            <a:ext cx="4854520" cy="246221"/>
          </a:xfrm>
          <a:prstGeom prst="rect">
            <a:avLst/>
          </a:prstGeom>
          <a:noFill/>
        </p:spPr>
        <p:txBody>
          <a:bodyPr wrap="square" lIns="0" tIns="0" rIns="0" bIns="0" rtlCol="0">
            <a:spAutoFit/>
          </a:bodyPr>
          <a:lstStyle/>
          <a:p>
            <a:pPr algn="ctr"/>
            <a:r>
              <a:rPr lang="en-US" sz="1600" u="sng" dirty="0">
                <a:solidFill>
                  <a:prstClr val="black"/>
                </a:solidFill>
                <a:cs typeface="3M Circular TT Book" panose="020B0604020101020102" pitchFamily="34" charset="0"/>
              </a:rPr>
              <a:t>Road Safety Improvement: With and Without </a:t>
            </a:r>
            <a:r>
              <a:rPr lang="en-US" sz="1600" u="sng" dirty="0" smtClean="0">
                <a:solidFill>
                  <a:prstClr val="black"/>
                </a:solidFill>
                <a:cs typeface="3M Circular TT Book" panose="020B0604020101020102" pitchFamily="34" charset="0"/>
              </a:rPr>
              <a:t>RPMs¹</a:t>
            </a:r>
            <a:endParaRPr lang="en-US" sz="1600" u="sng" dirty="0">
              <a:solidFill>
                <a:prstClr val="black"/>
              </a:solidFill>
              <a:cs typeface="3M Circular TT Book" panose="020B0604020101020102" pitchFamily="34" charset="0"/>
            </a:endParaRPr>
          </a:p>
        </p:txBody>
      </p:sp>
      <p:sp>
        <p:nvSpPr>
          <p:cNvPr id="90" name="TextBox 89"/>
          <p:cNvSpPr txBox="1"/>
          <p:nvPr/>
        </p:nvSpPr>
        <p:spPr>
          <a:xfrm>
            <a:off x="3636963" y="3800660"/>
            <a:ext cx="867802" cy="492443"/>
          </a:xfrm>
          <a:prstGeom prst="rect">
            <a:avLst/>
          </a:prstGeom>
          <a:noFill/>
        </p:spPr>
        <p:txBody>
          <a:bodyPr wrap="square" lIns="0" tIns="0" rIns="0" bIns="0" rtlCol="0">
            <a:spAutoFit/>
          </a:bodyPr>
          <a:lstStyle/>
          <a:p>
            <a:pPr algn="ctr"/>
            <a:r>
              <a:rPr lang="en-US" sz="1600" dirty="0">
                <a:solidFill>
                  <a:srgbClr val="FFFFFF"/>
                </a:solidFill>
              </a:rPr>
              <a:t>No RPMs Installed</a:t>
            </a:r>
          </a:p>
        </p:txBody>
      </p:sp>
      <p:sp>
        <p:nvSpPr>
          <p:cNvPr id="91" name="TextBox 90"/>
          <p:cNvSpPr txBox="1"/>
          <p:nvPr/>
        </p:nvSpPr>
        <p:spPr>
          <a:xfrm>
            <a:off x="4548188" y="3800659"/>
            <a:ext cx="797224" cy="492443"/>
          </a:xfrm>
          <a:prstGeom prst="rect">
            <a:avLst/>
          </a:prstGeom>
          <a:noFill/>
        </p:spPr>
        <p:txBody>
          <a:bodyPr wrap="square" lIns="0" tIns="0" rIns="0" bIns="0" rtlCol="0">
            <a:spAutoFit/>
          </a:bodyPr>
          <a:lstStyle/>
          <a:p>
            <a:pPr algn="ctr"/>
            <a:r>
              <a:rPr lang="en-US" sz="1600" dirty="0">
                <a:solidFill>
                  <a:srgbClr val="FFFFFF"/>
                </a:solidFill>
              </a:rPr>
              <a:t>RPMs Installed</a:t>
            </a:r>
          </a:p>
        </p:txBody>
      </p:sp>
      <p:graphicFrame>
        <p:nvGraphicFramePr>
          <p:cNvPr id="92" name="Object 91"/>
          <p:cNvGraphicFramePr>
            <a:graphicFrameLocks/>
          </p:cNvGraphicFramePr>
          <p:nvPr>
            <p:custDataLst>
              <p:tags r:id="rId27"/>
            </p:custDataLst>
            <p:extLst/>
          </p:nvPr>
        </p:nvGraphicFramePr>
        <p:xfrm>
          <a:off x="6781800" y="1828800"/>
          <a:ext cx="5057699" cy="4210110"/>
        </p:xfrm>
        <a:graphic>
          <a:graphicData uri="http://schemas.openxmlformats.org/presentationml/2006/ole">
            <mc:AlternateContent xmlns:mc="http://schemas.openxmlformats.org/markup-compatibility/2006">
              <mc:Choice xmlns:v="urn:schemas-microsoft-com:vml" Requires="v">
                <p:oleObj spid="_x0000_s52267" name="Chart" r:id="rId54" imgW="5057699" imgH="4210110" progId="MSGraph.Chart.8">
                  <p:embed followColorScheme="full"/>
                </p:oleObj>
              </mc:Choice>
              <mc:Fallback>
                <p:oleObj name="Chart" r:id="rId54" imgW="5057699" imgH="4210110" progId="MSGraph.Chart.8">
                  <p:embed followColorScheme="full"/>
                  <p:pic>
                    <p:nvPicPr>
                      <p:cNvPr id="0" name=""/>
                      <p:cNvPicPr/>
                      <p:nvPr/>
                    </p:nvPicPr>
                    <p:blipFill>
                      <a:blip r:embed="rId55"/>
                      <a:stretch>
                        <a:fillRect/>
                      </a:stretch>
                    </p:blipFill>
                    <p:spPr>
                      <a:xfrm>
                        <a:off x="6781800" y="1828800"/>
                        <a:ext cx="5057699" cy="4210110"/>
                      </a:xfrm>
                      <a:prstGeom prst="rect">
                        <a:avLst/>
                      </a:prstGeom>
                    </p:spPr>
                  </p:pic>
                </p:oleObj>
              </mc:Fallback>
            </mc:AlternateContent>
          </a:graphicData>
        </a:graphic>
      </p:graphicFrame>
      <p:sp>
        <p:nvSpPr>
          <p:cNvPr id="93" name="Text Placeholder 2"/>
          <p:cNvSpPr>
            <a:spLocks noGrp="1"/>
          </p:cNvSpPr>
          <p:nvPr>
            <p:custDataLst>
              <p:tags r:id="rId28"/>
            </p:custDataLst>
          </p:nvPr>
        </p:nvSpPr>
        <p:spPr bwMode="gray">
          <a:xfrm>
            <a:off x="6599238" y="5286375"/>
            <a:ext cx="2333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647C75A3-51B1-4311-8273-737A3AC0523F}" type="datetime'''1''''''''''''''''''''''0'''''''''">
              <a:rPr altLang="en-US" sz="1000">
                <a:solidFill>
                  <a:srgbClr val="000000"/>
                </a:solidFill>
              </a:rPr>
              <a:pPr algn="r">
                <a:lnSpc>
                  <a:spcPct val="100000"/>
                </a:lnSpc>
                <a:spcBef>
                  <a:spcPct val="0"/>
                </a:spcBef>
                <a:spcAft>
                  <a:spcPct val="0"/>
                </a:spcAft>
              </a:pPr>
              <a:t>10</a:t>
            </a:fld>
            <a:r>
              <a:rPr altLang="en-US" sz="1000">
                <a:solidFill>
                  <a:prstClr val="black"/>
                </a:solidFill>
                <a:sym typeface="+mn-lt"/>
              </a:rPr>
              <a:t>%</a:t>
            </a:r>
            <a:endParaRPr sz="1000">
              <a:solidFill>
                <a:prstClr val="black"/>
              </a:solidFill>
              <a:sym typeface="+mn-lt"/>
            </a:endParaRPr>
          </a:p>
        </p:txBody>
      </p:sp>
      <p:sp>
        <p:nvSpPr>
          <p:cNvPr id="102" name="Text Placeholder 2"/>
          <p:cNvSpPr>
            <a:spLocks noGrp="1"/>
          </p:cNvSpPr>
          <p:nvPr>
            <p:custDataLst>
              <p:tags r:id="rId29"/>
            </p:custDataLst>
          </p:nvPr>
        </p:nvSpPr>
        <p:spPr bwMode="gray">
          <a:xfrm>
            <a:off x="6645275" y="5638800"/>
            <a:ext cx="1873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83D91441-FF07-4968-8B4E-5788DA8BD465}" type="datetime'''''''''''''''''''''''''''''''''''''''0'''''">
              <a:rPr altLang="en-US" sz="1000">
                <a:solidFill>
                  <a:srgbClr val="000000"/>
                </a:solidFill>
              </a:rPr>
              <a:pPr algn="r">
                <a:lnSpc>
                  <a:spcPct val="100000"/>
                </a:lnSpc>
                <a:spcBef>
                  <a:spcPct val="0"/>
                </a:spcBef>
                <a:spcAft>
                  <a:spcPct val="0"/>
                </a:spcAft>
              </a:pPr>
              <a:t>0</a:t>
            </a:fld>
            <a:r>
              <a:rPr altLang="en-US" sz="1000">
                <a:solidFill>
                  <a:prstClr val="black"/>
                </a:solidFill>
                <a:sym typeface="+mn-lt"/>
              </a:rPr>
              <a:t>%</a:t>
            </a:r>
            <a:endParaRPr sz="1000">
              <a:solidFill>
                <a:prstClr val="black"/>
              </a:solidFill>
              <a:sym typeface="+mn-lt"/>
            </a:endParaRPr>
          </a:p>
        </p:txBody>
      </p:sp>
      <p:sp>
        <p:nvSpPr>
          <p:cNvPr id="99" name="Text Placeholder 2"/>
          <p:cNvSpPr>
            <a:spLocks noGrp="1"/>
          </p:cNvSpPr>
          <p:nvPr>
            <p:custDataLst>
              <p:tags r:id="rId30"/>
            </p:custDataLst>
          </p:nvPr>
        </p:nvSpPr>
        <p:spPr bwMode="gray">
          <a:xfrm>
            <a:off x="6575425" y="3152775"/>
            <a:ext cx="257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D522FA74-3FD9-4AB2-B337-630397949732}" type="datetime'''''''''''''''7''''''''''''''''0'''''''''''''''''''''">
              <a:rPr altLang="en-US" sz="1000">
                <a:solidFill>
                  <a:srgbClr val="000000"/>
                </a:solidFill>
              </a:rPr>
              <a:pPr algn="r">
                <a:lnSpc>
                  <a:spcPct val="100000"/>
                </a:lnSpc>
                <a:spcBef>
                  <a:spcPct val="0"/>
                </a:spcBef>
                <a:spcAft>
                  <a:spcPct val="0"/>
                </a:spcAft>
              </a:pPr>
              <a:t>70</a:t>
            </a:fld>
            <a:r>
              <a:rPr altLang="en-US" sz="1000">
                <a:solidFill>
                  <a:prstClr val="black"/>
                </a:solidFill>
                <a:sym typeface="+mn-lt"/>
              </a:rPr>
              <a:t>%</a:t>
            </a:r>
            <a:endParaRPr sz="1000">
              <a:solidFill>
                <a:prstClr val="black"/>
              </a:solidFill>
              <a:sym typeface="+mn-lt"/>
            </a:endParaRPr>
          </a:p>
        </p:txBody>
      </p:sp>
      <p:sp>
        <p:nvSpPr>
          <p:cNvPr id="98" name="Text Placeholder 2"/>
          <p:cNvSpPr>
            <a:spLocks noGrp="1"/>
          </p:cNvSpPr>
          <p:nvPr>
            <p:custDataLst>
              <p:tags r:id="rId31"/>
            </p:custDataLst>
          </p:nvPr>
        </p:nvSpPr>
        <p:spPr bwMode="gray">
          <a:xfrm>
            <a:off x="6564313" y="3505200"/>
            <a:ext cx="2682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7F8C6570-C628-4D9B-8B33-E108D3214483}" type="datetime'''''''''''''''''''''''6''''''''''''''''''0'''">
              <a:rPr altLang="en-US" sz="1000">
                <a:solidFill>
                  <a:srgbClr val="000000"/>
                </a:solidFill>
              </a:rPr>
              <a:pPr algn="r">
                <a:lnSpc>
                  <a:spcPct val="100000"/>
                </a:lnSpc>
                <a:spcBef>
                  <a:spcPct val="0"/>
                </a:spcBef>
                <a:spcAft>
                  <a:spcPct val="0"/>
                </a:spcAft>
              </a:pPr>
              <a:t>60</a:t>
            </a:fld>
            <a:r>
              <a:rPr altLang="en-US" sz="1000">
                <a:solidFill>
                  <a:prstClr val="black"/>
                </a:solidFill>
                <a:sym typeface="+mn-lt"/>
              </a:rPr>
              <a:t>%</a:t>
            </a:r>
            <a:endParaRPr sz="1000">
              <a:solidFill>
                <a:prstClr val="black"/>
              </a:solidFill>
              <a:sym typeface="+mn-lt"/>
            </a:endParaRPr>
          </a:p>
        </p:txBody>
      </p:sp>
      <p:sp>
        <p:nvSpPr>
          <p:cNvPr id="97" name="Text Placeholder 2"/>
          <p:cNvSpPr>
            <a:spLocks noGrp="1"/>
          </p:cNvSpPr>
          <p:nvPr>
            <p:custDataLst>
              <p:tags r:id="rId32"/>
            </p:custDataLst>
          </p:nvPr>
        </p:nvSpPr>
        <p:spPr bwMode="gray">
          <a:xfrm>
            <a:off x="6570663" y="3867150"/>
            <a:ext cx="2619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6C55AAE9-9BA7-4DA0-8F36-B24B7D564E06}" type="datetime'''''''5''''''''''''''''''''''''''0'''''''''''''''''''">
              <a:rPr altLang="en-US" sz="1000">
                <a:solidFill>
                  <a:srgbClr val="000000"/>
                </a:solidFill>
              </a:rPr>
              <a:pPr algn="r">
                <a:lnSpc>
                  <a:spcPct val="100000"/>
                </a:lnSpc>
                <a:spcBef>
                  <a:spcPct val="0"/>
                </a:spcBef>
                <a:spcAft>
                  <a:spcPct val="0"/>
                </a:spcAft>
              </a:pPr>
              <a:t>50</a:t>
            </a:fld>
            <a:r>
              <a:rPr altLang="en-US" sz="1000">
                <a:solidFill>
                  <a:prstClr val="black"/>
                </a:solidFill>
                <a:sym typeface="+mn-lt"/>
              </a:rPr>
              <a:t>%</a:t>
            </a:r>
            <a:endParaRPr sz="1000">
              <a:solidFill>
                <a:prstClr val="black"/>
              </a:solidFill>
              <a:sym typeface="+mn-lt"/>
            </a:endParaRPr>
          </a:p>
        </p:txBody>
      </p:sp>
      <p:sp>
        <p:nvSpPr>
          <p:cNvPr id="96" name="Text Placeholder 2"/>
          <p:cNvSpPr>
            <a:spLocks noGrp="1"/>
          </p:cNvSpPr>
          <p:nvPr>
            <p:custDataLst>
              <p:tags r:id="rId33"/>
            </p:custDataLst>
          </p:nvPr>
        </p:nvSpPr>
        <p:spPr bwMode="gray">
          <a:xfrm>
            <a:off x="6565900" y="4219575"/>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1B6EF9E9-C590-4753-A706-9E95E0B32A0F}" type="datetime'''''''''''''''''''4''''''0'''">
              <a:rPr altLang="en-US" sz="1000">
                <a:solidFill>
                  <a:srgbClr val="000000"/>
                </a:solidFill>
              </a:rPr>
              <a:pPr algn="r">
                <a:lnSpc>
                  <a:spcPct val="100000"/>
                </a:lnSpc>
                <a:spcBef>
                  <a:spcPct val="0"/>
                </a:spcBef>
                <a:spcAft>
                  <a:spcPct val="0"/>
                </a:spcAft>
              </a:pPr>
              <a:t>40</a:t>
            </a:fld>
            <a:r>
              <a:rPr altLang="en-US" sz="1000">
                <a:solidFill>
                  <a:prstClr val="black"/>
                </a:solidFill>
                <a:sym typeface="+mn-lt"/>
              </a:rPr>
              <a:t>%</a:t>
            </a:r>
            <a:endParaRPr sz="1000">
              <a:solidFill>
                <a:prstClr val="black"/>
              </a:solidFill>
              <a:sym typeface="+mn-lt"/>
            </a:endParaRPr>
          </a:p>
        </p:txBody>
      </p:sp>
      <p:sp>
        <p:nvSpPr>
          <p:cNvPr id="94" name="Text Placeholder 2"/>
          <p:cNvSpPr>
            <a:spLocks noGrp="1"/>
          </p:cNvSpPr>
          <p:nvPr>
            <p:custDataLst>
              <p:tags r:id="rId34"/>
            </p:custDataLst>
          </p:nvPr>
        </p:nvSpPr>
        <p:spPr bwMode="gray">
          <a:xfrm>
            <a:off x="6567488" y="4572000"/>
            <a:ext cx="2651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0B0692F8-A6A6-4DC1-87D8-7E76131A61E0}" type="datetime'''''3''''''''''''''''''''''''0'''''''''''''">
              <a:rPr altLang="en-US" sz="1000">
                <a:solidFill>
                  <a:srgbClr val="000000"/>
                </a:solidFill>
              </a:rPr>
              <a:pPr algn="r">
                <a:lnSpc>
                  <a:spcPct val="100000"/>
                </a:lnSpc>
                <a:spcBef>
                  <a:spcPct val="0"/>
                </a:spcBef>
                <a:spcAft>
                  <a:spcPct val="0"/>
                </a:spcAft>
              </a:pPr>
              <a:t>30</a:t>
            </a:fld>
            <a:r>
              <a:rPr altLang="en-US" sz="1000">
                <a:solidFill>
                  <a:prstClr val="black"/>
                </a:solidFill>
                <a:sym typeface="+mn-lt"/>
              </a:rPr>
              <a:t>%</a:t>
            </a:r>
            <a:endParaRPr sz="1000">
              <a:solidFill>
                <a:prstClr val="black"/>
              </a:solidFill>
              <a:sym typeface="+mn-lt"/>
            </a:endParaRPr>
          </a:p>
        </p:txBody>
      </p:sp>
      <p:sp>
        <p:nvSpPr>
          <p:cNvPr id="95" name="Text Placeholder 2"/>
          <p:cNvSpPr>
            <a:spLocks noGrp="1"/>
          </p:cNvSpPr>
          <p:nvPr>
            <p:custDataLst>
              <p:tags r:id="rId35"/>
            </p:custDataLst>
          </p:nvPr>
        </p:nvSpPr>
        <p:spPr bwMode="gray">
          <a:xfrm>
            <a:off x="6570663" y="4924425"/>
            <a:ext cx="2619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0F931A19-D805-4775-A267-3C10AD72A93B}" type="datetime'''''''''2''''''''''''''''''''''''''''''''''''''''''''0'''">
              <a:rPr altLang="en-US" sz="1000">
                <a:solidFill>
                  <a:srgbClr val="000000"/>
                </a:solidFill>
              </a:rPr>
              <a:pPr algn="r">
                <a:lnSpc>
                  <a:spcPct val="100000"/>
                </a:lnSpc>
                <a:spcBef>
                  <a:spcPct val="0"/>
                </a:spcBef>
                <a:spcAft>
                  <a:spcPct val="0"/>
                </a:spcAft>
              </a:pPr>
              <a:t>20</a:t>
            </a:fld>
            <a:r>
              <a:rPr altLang="en-US" sz="1000">
                <a:solidFill>
                  <a:prstClr val="black"/>
                </a:solidFill>
                <a:sym typeface="+mn-lt"/>
              </a:rPr>
              <a:t>%</a:t>
            </a:r>
            <a:endParaRPr sz="1000">
              <a:solidFill>
                <a:prstClr val="black"/>
              </a:solidFill>
              <a:sym typeface="+mn-lt"/>
            </a:endParaRPr>
          </a:p>
        </p:txBody>
      </p:sp>
      <p:sp>
        <p:nvSpPr>
          <p:cNvPr id="103" name="Text Placeholder 2"/>
          <p:cNvSpPr>
            <a:spLocks noGrp="1"/>
          </p:cNvSpPr>
          <p:nvPr>
            <p:custDataLst>
              <p:tags r:id="rId36"/>
            </p:custDataLst>
          </p:nvPr>
        </p:nvSpPr>
        <p:spPr bwMode="gray">
          <a:xfrm>
            <a:off x="6516688" y="2085975"/>
            <a:ext cx="3159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0ED6AF0F-2902-4292-A77E-A736EEA67497}" type="datetime'''''''''''''''1''''''0''''''0'''''''''''''">
              <a:rPr altLang="en-US" sz="1000">
                <a:solidFill>
                  <a:srgbClr val="000000"/>
                </a:solidFill>
              </a:rPr>
              <a:pPr algn="r">
                <a:lnSpc>
                  <a:spcPct val="100000"/>
                </a:lnSpc>
                <a:spcBef>
                  <a:spcPct val="0"/>
                </a:spcBef>
                <a:spcAft>
                  <a:spcPct val="0"/>
                </a:spcAft>
              </a:pPr>
              <a:t>100</a:t>
            </a:fld>
            <a:r>
              <a:rPr altLang="en-US" sz="1000">
                <a:solidFill>
                  <a:prstClr val="black"/>
                </a:solidFill>
                <a:sym typeface="+mn-lt"/>
              </a:rPr>
              <a:t>%</a:t>
            </a:r>
            <a:endParaRPr sz="1000">
              <a:solidFill>
                <a:prstClr val="black"/>
              </a:solidFill>
              <a:sym typeface="+mn-lt"/>
            </a:endParaRPr>
          </a:p>
        </p:txBody>
      </p:sp>
      <p:sp>
        <p:nvSpPr>
          <p:cNvPr id="101" name="Text Placeholder 2"/>
          <p:cNvSpPr>
            <a:spLocks noGrp="1"/>
          </p:cNvSpPr>
          <p:nvPr>
            <p:custDataLst>
              <p:tags r:id="rId37"/>
            </p:custDataLst>
          </p:nvPr>
        </p:nvSpPr>
        <p:spPr bwMode="gray">
          <a:xfrm>
            <a:off x="6565900" y="2438400"/>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661A9308-1FCB-4C20-807B-C5EDD1078C5F}" type="datetime'9''''''''''''''0'''''''''''">
              <a:rPr altLang="en-US" sz="1000">
                <a:solidFill>
                  <a:srgbClr val="000000"/>
                </a:solidFill>
              </a:rPr>
              <a:pPr algn="r">
                <a:lnSpc>
                  <a:spcPct val="100000"/>
                </a:lnSpc>
                <a:spcBef>
                  <a:spcPct val="0"/>
                </a:spcBef>
                <a:spcAft>
                  <a:spcPct val="0"/>
                </a:spcAft>
              </a:pPr>
              <a:t>90</a:t>
            </a:fld>
            <a:r>
              <a:rPr altLang="en-US" sz="1000">
                <a:solidFill>
                  <a:prstClr val="black"/>
                </a:solidFill>
                <a:sym typeface="+mn-lt"/>
              </a:rPr>
              <a:t>%</a:t>
            </a:r>
            <a:endParaRPr sz="1000">
              <a:solidFill>
                <a:prstClr val="black"/>
              </a:solidFill>
              <a:sym typeface="+mn-lt"/>
            </a:endParaRPr>
          </a:p>
        </p:txBody>
      </p:sp>
      <p:sp>
        <p:nvSpPr>
          <p:cNvPr id="100" name="Text Placeholder 2"/>
          <p:cNvSpPr>
            <a:spLocks noGrp="1"/>
          </p:cNvSpPr>
          <p:nvPr>
            <p:custDataLst>
              <p:tags r:id="rId38"/>
            </p:custDataLst>
          </p:nvPr>
        </p:nvSpPr>
        <p:spPr bwMode="gray">
          <a:xfrm>
            <a:off x="6565900" y="2800350"/>
            <a:ext cx="266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41525D7D-3491-4C96-ADAB-E2D9CD267362}" type="datetime'8''''''''''''''''''''''0'''''''''''''''''''''''''''''''">
              <a:rPr altLang="en-US" sz="1000">
                <a:solidFill>
                  <a:srgbClr val="000000"/>
                </a:solidFill>
              </a:rPr>
              <a:pPr algn="r">
                <a:lnSpc>
                  <a:spcPct val="100000"/>
                </a:lnSpc>
                <a:spcBef>
                  <a:spcPct val="0"/>
                </a:spcBef>
                <a:spcAft>
                  <a:spcPct val="0"/>
                </a:spcAft>
              </a:pPr>
              <a:t>80</a:t>
            </a:fld>
            <a:r>
              <a:rPr altLang="en-US" sz="1000">
                <a:solidFill>
                  <a:prstClr val="black"/>
                </a:solidFill>
                <a:sym typeface="+mn-lt"/>
              </a:rPr>
              <a:t>%</a:t>
            </a:r>
            <a:endParaRPr sz="1000">
              <a:solidFill>
                <a:prstClr val="black"/>
              </a:solidFill>
              <a:sym typeface="+mn-lt"/>
            </a:endParaRPr>
          </a:p>
        </p:txBody>
      </p:sp>
      <p:sp>
        <p:nvSpPr>
          <p:cNvPr id="104" name="Text Placeholder 2"/>
          <p:cNvSpPr>
            <a:spLocks noGrp="1"/>
          </p:cNvSpPr>
          <p:nvPr>
            <p:custDataLst>
              <p:tags r:id="rId39"/>
            </p:custDataLst>
          </p:nvPr>
        </p:nvSpPr>
        <p:spPr bwMode="auto">
          <a:xfrm flipV="1">
            <a:off x="11876088" y="3368675"/>
            <a:ext cx="152400" cy="1141413"/>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r>
              <a:rPr sz="1000">
                <a:solidFill>
                  <a:prstClr val="black"/>
                </a:solidFill>
                <a:latin typeface="3M Circular TT Light" panose="020B0404020101020102" pitchFamily="34" charset="0"/>
                <a:cs typeface="3M Circular TT Light" panose="020B0404020101020102" pitchFamily="34" charset="0"/>
                <a:sym typeface="3M Circular TT Light" panose="020B0404020101020102" pitchFamily="34" charset="0"/>
              </a:rPr>
              <a:t>7 = Extremely Useful</a:t>
            </a:r>
          </a:p>
        </p:txBody>
      </p:sp>
      <p:sp>
        <p:nvSpPr>
          <p:cNvPr id="105" name="Text Placeholder 2"/>
          <p:cNvSpPr>
            <a:spLocks noGrp="1"/>
          </p:cNvSpPr>
          <p:nvPr>
            <p:custDataLst>
              <p:tags r:id="rId40"/>
            </p:custDataLst>
          </p:nvPr>
        </p:nvSpPr>
        <p:spPr bwMode="auto">
          <a:xfrm>
            <a:off x="10544175" y="5789613"/>
            <a:ext cx="72548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4B7D65FE-72DA-40BD-A064-28FB163C5A32}" type="datetime'Us''e''''f''ulness ''o''''n'''' ''''A''l''l'' ''''Roa''d''s'''">
              <a:rPr altLang="en-US" sz="1000">
                <a:solidFill>
                  <a:srgbClr val="000000"/>
                </a:solidFill>
                <a:cs typeface="3M Circular TT Book" panose="020B0604020101020102" pitchFamily="34" charset="0"/>
              </a:rPr>
              <a:pPr algn="ctr">
                <a:lnSpc>
                  <a:spcPct val="100000"/>
                </a:lnSpc>
                <a:spcBef>
                  <a:spcPct val="0"/>
                </a:spcBef>
                <a:spcAft>
                  <a:spcPct val="0"/>
                </a:spcAft>
              </a:pPr>
              <a:t>Usefulness on All Roads</a:t>
            </a:fld>
            <a:endParaRPr sz="1000">
              <a:solidFill>
                <a:srgbClr val="000000"/>
              </a:solidFill>
              <a:cs typeface="3M Circular TT Book" panose="020B0604020101020102" pitchFamily="34" charset="0"/>
              <a:sym typeface="3M Circular TT Book" panose="020B0604020101020102" pitchFamily="34" charset="0"/>
            </a:endParaRPr>
          </a:p>
        </p:txBody>
      </p:sp>
      <p:sp>
        <p:nvSpPr>
          <p:cNvPr id="112" name="Text Placeholder 2"/>
          <p:cNvSpPr>
            <a:spLocks noGrp="1"/>
          </p:cNvSpPr>
          <p:nvPr>
            <p:custDataLst>
              <p:tags r:id="rId41"/>
            </p:custDataLst>
          </p:nvPr>
        </p:nvSpPr>
        <p:spPr bwMode="auto">
          <a:xfrm flipV="1">
            <a:off x="6221413" y="3716338"/>
            <a:ext cx="152400" cy="446088"/>
          </a:xfrm>
          <a:prstGeom prst="rect">
            <a:avLst/>
          </a:prstGeom>
          <a:noFill/>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b"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r>
              <a:rPr altLang="en-US" sz="1000">
                <a:solidFill>
                  <a:prstClr val="black"/>
                </a:solidFill>
                <a:cs typeface="3M Circular TT Book" panose="020B0604020101020102" pitchFamily="34" charset="0"/>
                <a:sym typeface="3M Circular TT Book" panose="020B0604020101020102" pitchFamily="34" charset="0"/>
              </a:rPr>
              <a:t>Percent</a:t>
            </a:r>
            <a:endParaRPr sz="1000">
              <a:solidFill>
                <a:prstClr val="black"/>
              </a:solidFill>
              <a:cs typeface="3M Circular TT Book" panose="020B0604020101020102" pitchFamily="34" charset="0"/>
              <a:sym typeface="3M Circular TT Book" panose="020B0604020101020102" pitchFamily="34" charset="0"/>
            </a:endParaRPr>
          </a:p>
        </p:txBody>
      </p:sp>
      <p:sp>
        <p:nvSpPr>
          <p:cNvPr id="111" name="Text Placeholder 2"/>
          <p:cNvSpPr>
            <a:spLocks noGrp="1"/>
          </p:cNvSpPr>
          <p:nvPr>
            <p:custDataLst>
              <p:tags r:id="rId42"/>
            </p:custDataLst>
          </p:nvPr>
        </p:nvSpPr>
        <p:spPr bwMode="auto">
          <a:xfrm>
            <a:off x="9382125" y="5789613"/>
            <a:ext cx="78263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C49A8DFB-914F-4C0A-B236-FC958F4A459D}" type="datetime'''% ''V''''is''i''b''i''l''it''''y ''''''I''''mpr''ovem''ent'">
              <a:rPr altLang="en-US" sz="1000">
                <a:solidFill>
                  <a:srgbClr val="000000"/>
                </a:solidFill>
                <a:cs typeface="3M Circular TT Book" panose="020B0604020101020102" pitchFamily="34" charset="0"/>
              </a:rPr>
              <a:pPr algn="ctr">
                <a:lnSpc>
                  <a:spcPct val="100000"/>
                </a:lnSpc>
                <a:spcBef>
                  <a:spcPct val="0"/>
                </a:spcBef>
                <a:spcAft>
                  <a:spcPct val="0"/>
                </a:spcAft>
              </a:pPr>
              <a:t>% Visibility Improvement</a:t>
            </a:fld>
            <a:endParaRPr sz="1000">
              <a:solidFill>
                <a:srgbClr val="000000"/>
              </a:solidFill>
              <a:cs typeface="3M Circular TT Book" panose="020B0604020101020102" pitchFamily="34" charset="0"/>
              <a:sym typeface="3M Circular TT Book" panose="020B0604020101020102" pitchFamily="34" charset="0"/>
            </a:endParaRPr>
          </a:p>
        </p:txBody>
      </p:sp>
      <p:sp>
        <p:nvSpPr>
          <p:cNvPr id="106" name="Text Placeholder 2"/>
          <p:cNvSpPr>
            <a:spLocks noGrp="1"/>
          </p:cNvSpPr>
          <p:nvPr>
            <p:custDataLst>
              <p:tags r:id="rId43"/>
            </p:custDataLst>
          </p:nvPr>
        </p:nvSpPr>
        <p:spPr bwMode="gray">
          <a:xfrm>
            <a:off x="9575800" y="2743200"/>
            <a:ext cx="393700" cy="212725"/>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CA0CF7C1-AB4B-4446-87AB-EBF3EF4DE450}" type="datetime'''''''''''''''''''''''''''''''7''''''''''''''7'''''''''">
              <a:rPr altLang="en-US" sz="1400">
                <a:solidFill>
                  <a:srgbClr val="000000"/>
                </a:solidFill>
              </a:rPr>
              <a:pPr algn="ctr">
                <a:lnSpc>
                  <a:spcPct val="100000"/>
                </a:lnSpc>
                <a:spcBef>
                  <a:spcPct val="0"/>
                </a:spcBef>
                <a:spcAft>
                  <a:spcPct val="0"/>
                </a:spcAft>
              </a:pPr>
              <a:t>77</a:t>
            </a:fld>
            <a:r>
              <a:rPr altLang="en-US" sz="1400">
                <a:solidFill>
                  <a:prstClr val="black"/>
                </a:solidFill>
                <a:sym typeface="+mn-lt"/>
              </a:rPr>
              <a:t>%</a:t>
            </a:r>
            <a:endParaRPr sz="1400">
              <a:solidFill>
                <a:prstClr val="black"/>
              </a:solidFill>
              <a:sym typeface="+mn-lt"/>
            </a:endParaRPr>
          </a:p>
        </p:txBody>
      </p:sp>
      <p:sp>
        <p:nvSpPr>
          <p:cNvPr id="107" name="Text Placeholder 2"/>
          <p:cNvSpPr>
            <a:spLocks noGrp="1"/>
          </p:cNvSpPr>
          <p:nvPr>
            <p:custDataLst>
              <p:tags r:id="rId44"/>
            </p:custDataLst>
          </p:nvPr>
        </p:nvSpPr>
        <p:spPr bwMode="auto">
          <a:xfrm>
            <a:off x="8223250" y="5789613"/>
            <a:ext cx="823913" cy="3048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10AFA084-33A4-4887-A761-7408CE751F0D}" type="datetime'''He''''l''p'' at ''Nig''h''t'' ''''i''''n Fo''g (''% Ye''s)'">
              <a:rPr altLang="en-US" sz="1000">
                <a:solidFill>
                  <a:srgbClr val="000000"/>
                </a:solidFill>
                <a:cs typeface="3M Circular TT Book" panose="020B0604020101020102" pitchFamily="34" charset="0"/>
              </a:rPr>
              <a:pPr algn="ctr">
                <a:lnSpc>
                  <a:spcPct val="100000"/>
                </a:lnSpc>
                <a:spcBef>
                  <a:spcPct val="0"/>
                </a:spcBef>
                <a:spcAft>
                  <a:spcPct val="0"/>
                </a:spcAft>
              </a:pPr>
              <a:t>Help at Night in Fog (% Yes)</a:t>
            </a:fld>
            <a:endParaRPr sz="1000">
              <a:solidFill>
                <a:srgbClr val="000000"/>
              </a:solidFill>
              <a:cs typeface="3M Circular TT Book" panose="020B0604020101020102" pitchFamily="34" charset="0"/>
              <a:sym typeface="3M Circular TT Book" panose="020B0604020101020102" pitchFamily="34" charset="0"/>
            </a:endParaRPr>
          </a:p>
        </p:txBody>
      </p:sp>
      <p:sp>
        <p:nvSpPr>
          <p:cNvPr id="108" name="Text Placeholder 2"/>
          <p:cNvSpPr>
            <a:spLocks noGrp="1"/>
          </p:cNvSpPr>
          <p:nvPr>
            <p:custDataLst>
              <p:tags r:id="rId45"/>
            </p:custDataLst>
          </p:nvPr>
        </p:nvSpPr>
        <p:spPr bwMode="gray">
          <a:xfrm>
            <a:off x="8448675" y="2600325"/>
            <a:ext cx="371475"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AE3CC61A-BE2B-4767-A955-0C62AFAE5FB6}" type="datetime'''''''''8''''1'''''''''''''''''''''''''''''''">
              <a:rPr altLang="en-US" sz="1400">
                <a:solidFill>
                  <a:srgbClr val="000000"/>
                </a:solidFill>
              </a:rPr>
              <a:pPr algn="ctr">
                <a:lnSpc>
                  <a:spcPct val="100000"/>
                </a:lnSpc>
                <a:spcBef>
                  <a:spcPct val="0"/>
                </a:spcBef>
                <a:spcAft>
                  <a:spcPct val="0"/>
                </a:spcAft>
              </a:pPr>
              <a:t>81</a:t>
            </a:fld>
            <a:r>
              <a:rPr altLang="en-US" sz="1400">
                <a:solidFill>
                  <a:prstClr val="black"/>
                </a:solidFill>
                <a:sym typeface="+mn-lt"/>
              </a:rPr>
              <a:t>%</a:t>
            </a:r>
            <a:endParaRPr sz="1400">
              <a:solidFill>
                <a:prstClr val="black"/>
              </a:solidFill>
              <a:sym typeface="+mn-lt"/>
            </a:endParaRPr>
          </a:p>
        </p:txBody>
      </p:sp>
      <p:sp>
        <p:nvSpPr>
          <p:cNvPr id="109" name="Text Placeholder 2"/>
          <p:cNvSpPr>
            <a:spLocks noGrp="1"/>
          </p:cNvSpPr>
          <p:nvPr>
            <p:custDataLst>
              <p:tags r:id="rId46"/>
            </p:custDataLst>
          </p:nvPr>
        </p:nvSpPr>
        <p:spPr bwMode="auto">
          <a:xfrm>
            <a:off x="7070725" y="5789613"/>
            <a:ext cx="852488" cy="30480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37849FEB-99DE-4E64-A6FB-7D9273829C04}" type="datetime'Hel''p ''''at'' Nigh''''t ''in'' ''R''''ain (%'' ''Ye''''s)'''">
              <a:rPr altLang="en-US" sz="1000">
                <a:solidFill>
                  <a:srgbClr val="000000"/>
                </a:solidFill>
                <a:cs typeface="3M Circular TT Book" panose="020B0604020101020102" pitchFamily="34" charset="0"/>
              </a:rPr>
              <a:pPr algn="ctr">
                <a:lnSpc>
                  <a:spcPct val="100000"/>
                </a:lnSpc>
                <a:spcBef>
                  <a:spcPct val="0"/>
                </a:spcBef>
                <a:spcAft>
                  <a:spcPct val="0"/>
                </a:spcAft>
              </a:pPr>
              <a:t>Help at Night in Rain (% Yes)</a:t>
            </a:fld>
            <a:endParaRPr sz="1000">
              <a:solidFill>
                <a:srgbClr val="000000"/>
              </a:solidFill>
              <a:cs typeface="3M Circular TT Book" panose="020B0604020101020102" pitchFamily="34" charset="0"/>
              <a:sym typeface="3M Circular TT Book" panose="020B0604020101020102" pitchFamily="34" charset="0"/>
            </a:endParaRPr>
          </a:p>
        </p:txBody>
      </p:sp>
      <p:sp>
        <p:nvSpPr>
          <p:cNvPr id="110" name="Text Placeholder 2"/>
          <p:cNvSpPr>
            <a:spLocks noGrp="1"/>
          </p:cNvSpPr>
          <p:nvPr>
            <p:custDataLst>
              <p:tags r:id="rId47"/>
            </p:custDataLst>
          </p:nvPr>
        </p:nvSpPr>
        <p:spPr bwMode="gray">
          <a:xfrm>
            <a:off x="7286625" y="2314575"/>
            <a:ext cx="41910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DD95DFAA-FC67-4A85-8FE0-FCC19E0666D3}" type="datetime'''''''''''''8''''''''''''''''''''9'''''''''''''''''''''''">
              <a:rPr altLang="en-US" sz="1400">
                <a:solidFill>
                  <a:srgbClr val="000000"/>
                </a:solidFill>
              </a:rPr>
              <a:pPr algn="ctr">
                <a:lnSpc>
                  <a:spcPct val="100000"/>
                </a:lnSpc>
                <a:spcBef>
                  <a:spcPct val="0"/>
                </a:spcBef>
                <a:spcAft>
                  <a:spcPct val="0"/>
                </a:spcAft>
              </a:pPr>
              <a:t>89</a:t>
            </a:fld>
            <a:r>
              <a:rPr altLang="en-US" sz="1400">
                <a:solidFill>
                  <a:prstClr val="black"/>
                </a:solidFill>
                <a:sym typeface="+mn-lt"/>
              </a:rPr>
              <a:t>%</a:t>
            </a:r>
            <a:endParaRPr sz="1400">
              <a:solidFill>
                <a:prstClr val="black"/>
              </a:solidFill>
              <a:sym typeface="+mn-lt"/>
            </a:endParaRPr>
          </a:p>
        </p:txBody>
      </p:sp>
      <p:sp>
        <p:nvSpPr>
          <p:cNvPr id="113" name="Rectangle 112"/>
          <p:cNvSpPr/>
          <p:nvPr/>
        </p:nvSpPr>
        <p:spPr>
          <a:xfrm>
            <a:off x="10587038" y="2447925"/>
            <a:ext cx="618837" cy="3267075"/>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14" name="TextBox 113"/>
          <p:cNvSpPr txBox="1"/>
          <p:nvPr/>
        </p:nvSpPr>
        <p:spPr>
          <a:xfrm>
            <a:off x="6698457" y="1343410"/>
            <a:ext cx="4854520" cy="246221"/>
          </a:xfrm>
          <a:prstGeom prst="rect">
            <a:avLst/>
          </a:prstGeom>
          <a:noFill/>
        </p:spPr>
        <p:txBody>
          <a:bodyPr wrap="square" lIns="0" tIns="0" rIns="0" bIns="0" rtlCol="0">
            <a:spAutoFit/>
          </a:bodyPr>
          <a:lstStyle/>
          <a:p>
            <a:pPr algn="ctr"/>
            <a:r>
              <a:rPr lang="en-US" sz="1600" u="sng" dirty="0">
                <a:solidFill>
                  <a:prstClr val="black"/>
                </a:solidFill>
                <a:cs typeface="3M Circular TT Book" panose="020B0604020101020102" pitchFamily="34" charset="0"/>
              </a:rPr>
              <a:t>Driver Perceptions of </a:t>
            </a:r>
            <a:r>
              <a:rPr lang="en-US" sz="1600" u="sng" dirty="0" smtClean="0">
                <a:solidFill>
                  <a:prstClr val="black"/>
                </a:solidFill>
                <a:cs typeface="3M Circular TT Book" panose="020B0604020101020102" pitchFamily="34" charset="0"/>
              </a:rPr>
              <a:t>RPMs²</a:t>
            </a:r>
            <a:endParaRPr lang="en-US" sz="1600" u="sng" dirty="0">
              <a:solidFill>
                <a:prstClr val="black"/>
              </a:solidFill>
              <a:cs typeface="3M Circular TT Book" panose="020B0604020101020102" pitchFamily="34" charset="0"/>
            </a:endParaRPr>
          </a:p>
        </p:txBody>
      </p:sp>
    </p:spTree>
    <p:extLst>
      <p:ext uri="{BB962C8B-B14F-4D97-AF65-F5344CB8AC3E}">
        <p14:creationId xmlns:p14="http://schemas.microsoft.com/office/powerpoint/2010/main" val="646808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6" name="Object 11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5" name="Rectangle 114" hidden="1"/>
          <p:cNvSpPr/>
          <p:nvPr>
            <p:custDataLst>
              <p:tags r:id="rId3"/>
            </p:custDataLst>
          </p:nvPr>
        </p:nvSpPr>
        <p:spPr bwMode="auto">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endParaRPr lang="en-US" sz="1000" dirty="0">
              <a:solidFill>
                <a:srgbClr val="FFFFFF"/>
              </a:solidFill>
              <a:sym typeface="+mn-lt"/>
            </a:endParaRPr>
          </a:p>
        </p:txBody>
      </p:sp>
      <p:sp>
        <p:nvSpPr>
          <p:cNvPr id="13" name="Title 1"/>
          <p:cNvSpPr>
            <a:spLocks noGrp="1"/>
          </p:cNvSpPr>
          <p:nvPr>
            <p:ph type="title"/>
          </p:nvPr>
        </p:nvSpPr>
        <p:spPr>
          <a:xfrm>
            <a:off x="379412" y="379414"/>
            <a:ext cx="11425237" cy="457200"/>
          </a:xfrm>
        </p:spPr>
        <p:txBody>
          <a:bodyPr/>
          <a:lstStyle/>
          <a:p>
            <a:r>
              <a:rPr lang="en-US" dirty="0"/>
              <a:t>3M’s Unique Selling Advantage: </a:t>
            </a:r>
            <a:r>
              <a:rPr lang="en-US" dirty="0">
                <a:solidFill>
                  <a:srgbClr val="00B0F0"/>
                </a:solidFill>
              </a:rPr>
              <a:t>Highly Reflective</a:t>
            </a:r>
          </a:p>
        </p:txBody>
      </p:sp>
      <p:pic>
        <p:nvPicPr>
          <p:cNvPr id="14" name="Picture 13"/>
          <p:cNvPicPr>
            <a:picLocks noChangeAspect="1"/>
          </p:cNvPicPr>
          <p:nvPr/>
        </p:nvPicPr>
        <p:blipFill>
          <a:blip r:embed="rId7"/>
          <a:stretch>
            <a:fillRect/>
          </a:stretch>
        </p:blipFill>
        <p:spPr>
          <a:xfrm>
            <a:off x="6385887" y="3700157"/>
            <a:ext cx="5582661" cy="1854117"/>
          </a:xfrm>
          <a:prstGeom prst="rect">
            <a:avLst/>
          </a:prstGeom>
          <a:ln>
            <a:noFill/>
          </a:ln>
        </p:spPr>
      </p:pic>
      <p:sp>
        <p:nvSpPr>
          <p:cNvPr id="18" name="Rectangle 17"/>
          <p:cNvSpPr/>
          <p:nvPr/>
        </p:nvSpPr>
        <p:spPr>
          <a:xfrm>
            <a:off x="6385887" y="1343107"/>
            <a:ext cx="5601979" cy="529397"/>
          </a:xfrm>
          <a:prstGeom prst="rect">
            <a:avLst/>
          </a:prstGeom>
          <a:solidFill>
            <a:schemeClr val="bg1"/>
          </a:solid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prstClr val="black"/>
                </a:solidFill>
              </a:rPr>
              <a:t>Driver Retroreflection Performance</a:t>
            </a:r>
          </a:p>
        </p:txBody>
      </p:sp>
      <p:sp>
        <p:nvSpPr>
          <p:cNvPr id="19" name="TextBox 18"/>
          <p:cNvSpPr txBox="1"/>
          <p:nvPr/>
        </p:nvSpPr>
        <p:spPr>
          <a:xfrm>
            <a:off x="379413" y="6414952"/>
            <a:ext cx="5583237" cy="153888"/>
          </a:xfrm>
          <a:prstGeom prst="rect">
            <a:avLst/>
          </a:prstGeom>
          <a:noFill/>
        </p:spPr>
        <p:txBody>
          <a:bodyPr wrap="square" lIns="0" tIns="0" rIns="0" bIns="0" rtlCol="0">
            <a:spAutoFit/>
          </a:bodyPr>
          <a:lstStyle/>
          <a:p>
            <a:r>
              <a:rPr lang="en-US" sz="1000" dirty="0">
                <a:solidFill>
                  <a:prstClr val="black"/>
                </a:solidFill>
              </a:rPr>
              <a:t>Source: </a:t>
            </a:r>
            <a:r>
              <a:rPr lang="en-US" sz="1000" dirty="0">
                <a:solidFill>
                  <a:prstClr val="black"/>
                </a:solidFill>
                <a:latin typeface="3M Circular TT Light" panose="020B0404020101020102" pitchFamily="34" charset="0"/>
                <a:cs typeface="3M Circular TT Light" panose="020B0404020101020102" pitchFamily="34" charset="0"/>
              </a:rPr>
              <a:t>3M™ Series 290 Product Bulletin</a:t>
            </a:r>
          </a:p>
        </p:txBody>
      </p:sp>
      <p:sp>
        <p:nvSpPr>
          <p:cNvPr id="20" name="Text Placeholder 3"/>
          <p:cNvSpPr>
            <a:spLocks noGrp="1"/>
          </p:cNvSpPr>
          <p:nvPr>
            <p:ph type="body" sz="quarter" idx="10"/>
          </p:nvPr>
        </p:nvSpPr>
        <p:spPr>
          <a:xfrm>
            <a:off x="381000" y="841248"/>
            <a:ext cx="11430000" cy="365760"/>
          </a:xfrm>
        </p:spPr>
        <p:txBody>
          <a:bodyPr/>
          <a:lstStyle/>
          <a:p>
            <a:r>
              <a:rPr lang="en-US" sz="2000" dirty="0">
                <a:solidFill>
                  <a:schemeClr val="tx1">
                    <a:lumMod val="50000"/>
                    <a:lumOff val="50000"/>
                  </a:schemeClr>
                </a:solidFill>
              </a:rPr>
              <a:t>3M Diamond Grade</a:t>
            </a:r>
            <a:r>
              <a:rPr lang="en-US" sz="2000" dirty="0">
                <a:solidFill>
                  <a:schemeClr val="tx1">
                    <a:lumMod val="50000"/>
                    <a:lumOff val="50000"/>
                  </a:schemeClr>
                </a:solidFill>
                <a:cs typeface="3M Circular TT Bold" panose="020B0804020101010102" pitchFamily="34" charset="0"/>
              </a:rPr>
              <a:t>™ microprismatic optics delivers </a:t>
            </a:r>
            <a:r>
              <a:rPr lang="en-US" sz="2000" dirty="0">
                <a:solidFill>
                  <a:srgbClr val="808080"/>
                </a:solidFill>
                <a:cs typeface="3M Circular TT Bold" panose="020B0804020101010102" pitchFamily="34" charset="0"/>
              </a:rPr>
              <a:t>on</a:t>
            </a:r>
            <a:r>
              <a:rPr lang="en-US" sz="2000" dirty="0">
                <a:solidFill>
                  <a:schemeClr val="tx1">
                    <a:lumMod val="50000"/>
                    <a:lumOff val="50000"/>
                  </a:schemeClr>
                </a:solidFill>
                <a:cs typeface="3M Circular TT Bold" panose="020B0804020101010102" pitchFamily="34" charset="0"/>
              </a:rPr>
              <a:t> brightness performance </a:t>
            </a:r>
            <a:endParaRPr lang="en-US" sz="2000" dirty="0">
              <a:solidFill>
                <a:schemeClr val="tx1">
                  <a:lumMod val="50000"/>
                  <a:lumOff val="50000"/>
                </a:schemeClr>
              </a:solidFill>
            </a:endParaRPr>
          </a:p>
        </p:txBody>
      </p:sp>
      <p:sp>
        <p:nvSpPr>
          <p:cNvPr id="27" name="Rectangle 26"/>
          <p:cNvSpPr/>
          <p:nvPr/>
        </p:nvSpPr>
        <p:spPr>
          <a:xfrm>
            <a:off x="379412" y="1343107"/>
            <a:ext cx="5347403" cy="529397"/>
          </a:xfrm>
          <a:prstGeom prst="rect">
            <a:avLst/>
          </a:prstGeom>
          <a:solidFill>
            <a:schemeClr val="bg1"/>
          </a:solid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prstClr val="black"/>
                </a:solidFill>
              </a:rPr>
              <a:t>3M</a:t>
            </a:r>
            <a:r>
              <a:rPr lang="en-US" sz="2000" dirty="0">
                <a:solidFill>
                  <a:prstClr val="black"/>
                </a:solidFill>
                <a:latin typeface="3M Circular TT Bold" panose="020B0804020101010102" pitchFamily="34" charset="0"/>
                <a:cs typeface="3M Circular TT Bold" panose="020B0804020101010102" pitchFamily="34" charset="0"/>
              </a:rPr>
              <a:t>™ </a:t>
            </a:r>
            <a:r>
              <a:rPr lang="en-US" sz="2000" dirty="0">
                <a:solidFill>
                  <a:prstClr val="black"/>
                </a:solidFill>
                <a:cs typeface="3M Circular TT Bold" panose="020B0804020101010102" pitchFamily="34" charset="0"/>
              </a:rPr>
              <a:t>RPM</a:t>
            </a:r>
            <a:r>
              <a:rPr lang="en-US" sz="2000" dirty="0">
                <a:solidFill>
                  <a:prstClr val="black"/>
                </a:solidFill>
                <a:latin typeface="3M Circular TT Bold" panose="020B0804020101010102" pitchFamily="34" charset="0"/>
                <a:cs typeface="3M Circular TT Bold" panose="020B0804020101010102" pitchFamily="34" charset="0"/>
              </a:rPr>
              <a:t> </a:t>
            </a:r>
            <a:r>
              <a:rPr lang="en-US" sz="2000" dirty="0">
                <a:solidFill>
                  <a:prstClr val="black"/>
                </a:solidFill>
              </a:rPr>
              <a:t>290 Reflective Features</a:t>
            </a:r>
          </a:p>
        </p:txBody>
      </p:sp>
      <p:pic>
        <p:nvPicPr>
          <p:cNvPr id="28" name="Picture 2" descr="PM290 Y-on-Y-LR"/>
          <p:cNvPicPr>
            <a:picLocks noChangeAspect="1" noChangeArrowheads="1"/>
          </p:cNvPicPr>
          <p:nvPr/>
        </p:nvPicPr>
        <p:blipFill>
          <a:blip r:embed="rId8" cstate="print"/>
          <a:srcRect/>
          <a:stretch>
            <a:fillRect/>
          </a:stretch>
        </p:blipFill>
        <p:spPr bwMode="auto">
          <a:xfrm>
            <a:off x="1547125" y="2619404"/>
            <a:ext cx="3011976" cy="1578055"/>
          </a:xfrm>
          <a:prstGeom prst="rect">
            <a:avLst/>
          </a:prstGeom>
          <a:noFill/>
          <a:effectLst>
            <a:innerShdw blurRad="939800">
              <a:prstClr val="black">
                <a:alpha val="75000"/>
              </a:prstClr>
            </a:innerShdw>
          </a:effectLst>
        </p:spPr>
      </p:pic>
      <p:sp>
        <p:nvSpPr>
          <p:cNvPr id="29" name="Text Box 3"/>
          <p:cNvSpPr txBox="1">
            <a:spLocks noChangeArrowheads="1"/>
          </p:cNvSpPr>
          <p:nvPr/>
        </p:nvSpPr>
        <p:spPr bwMode="auto">
          <a:xfrm>
            <a:off x="379412" y="2094865"/>
            <a:ext cx="5178021" cy="307777"/>
          </a:xfrm>
          <a:prstGeom prst="rect">
            <a:avLst/>
          </a:prstGeom>
          <a:noFill/>
          <a:ln w="9525">
            <a:noFill/>
            <a:miter lim="800000"/>
            <a:headEnd/>
            <a:tailEnd/>
          </a:ln>
          <a:effectLst/>
        </p:spPr>
        <p:txBody>
          <a:bodyPr wrap="none">
            <a:spAutoFit/>
          </a:bodyPr>
          <a:lstStyle/>
          <a:p>
            <a:pPr eaLnBrk="0" fontAlgn="base" hangingPunct="0">
              <a:spcBef>
                <a:spcPct val="0"/>
              </a:spcBef>
              <a:spcAft>
                <a:spcPct val="0"/>
              </a:spcAft>
            </a:pPr>
            <a:r>
              <a:rPr lang="en-US" sz="1400" dirty="0">
                <a:solidFill>
                  <a:prstClr val="black"/>
                </a:solidFill>
                <a:latin typeface="3M Circular TT Light" panose="020B0404020101020102" pitchFamily="34" charset="0"/>
                <a:cs typeface="3M Circular TT Light" panose="020B0404020101020102" pitchFamily="34" charset="0"/>
              </a:rPr>
              <a:t>Highly reflective 3M™</a:t>
            </a:r>
            <a:r>
              <a:rPr lang="en-US" sz="1400" dirty="0">
                <a:solidFill>
                  <a:prstClr val="black"/>
                </a:solidFill>
                <a:latin typeface="3M Circular TT Bold" panose="020B0804020101010102" pitchFamily="34" charset="0"/>
                <a:cs typeface="3M Circular TT Bold" panose="020B0804020101010102" pitchFamily="34" charset="0"/>
              </a:rPr>
              <a:t> </a:t>
            </a:r>
            <a:r>
              <a:rPr lang="en-US" sz="1400" dirty="0">
                <a:solidFill>
                  <a:prstClr val="black"/>
                </a:solidFill>
                <a:latin typeface="3M Circular TT Light" panose="020B0404020101020102" pitchFamily="34" charset="0"/>
                <a:cs typeface="3M Circular TT Light" panose="020B0404020101020102" pitchFamily="34" charset="0"/>
              </a:rPr>
              <a:t>Diamond Grade™ microprismatic optics</a:t>
            </a:r>
          </a:p>
        </p:txBody>
      </p:sp>
      <p:sp>
        <p:nvSpPr>
          <p:cNvPr id="30" name="Line 4"/>
          <p:cNvSpPr>
            <a:spLocks noChangeShapeType="1"/>
          </p:cNvSpPr>
          <p:nvPr/>
        </p:nvSpPr>
        <p:spPr bwMode="auto">
          <a:xfrm>
            <a:off x="1382486" y="2433419"/>
            <a:ext cx="932875" cy="991082"/>
          </a:xfrm>
          <a:prstGeom prst="line">
            <a:avLst/>
          </a:prstGeom>
          <a:noFill/>
          <a:ln w="31750">
            <a:solidFill>
              <a:srgbClr val="FF0000"/>
            </a:solidFill>
            <a:prstDash val="sysDot"/>
            <a:round/>
            <a:headEnd type="oval"/>
            <a:tailEnd type="arrow"/>
          </a:ln>
          <a:effectLst/>
        </p:spPr>
        <p:txBody>
          <a:bodyPr wrap="none" anchor="ctr"/>
          <a:lstStyle/>
          <a:p>
            <a:pPr fontAlgn="base">
              <a:spcBef>
                <a:spcPct val="0"/>
              </a:spcBef>
              <a:spcAft>
                <a:spcPct val="0"/>
              </a:spcAft>
              <a:defRPr/>
            </a:pPr>
            <a:endParaRPr lang="en-US" kern="0">
              <a:solidFill>
                <a:prstClr val="black"/>
              </a:solidFill>
              <a:cs typeface="Arial" charset="0"/>
            </a:endParaRPr>
          </a:p>
        </p:txBody>
      </p:sp>
      <p:sp>
        <p:nvSpPr>
          <p:cNvPr id="31" name="Line 6"/>
          <p:cNvSpPr>
            <a:spLocks noChangeShapeType="1"/>
          </p:cNvSpPr>
          <p:nvPr/>
        </p:nvSpPr>
        <p:spPr bwMode="auto">
          <a:xfrm flipV="1">
            <a:off x="1241572" y="3610485"/>
            <a:ext cx="1451294" cy="1114391"/>
          </a:xfrm>
          <a:prstGeom prst="line">
            <a:avLst/>
          </a:prstGeom>
          <a:noFill/>
          <a:ln w="31750">
            <a:solidFill>
              <a:srgbClr val="FF0000"/>
            </a:solidFill>
            <a:prstDash val="sysDot"/>
            <a:round/>
            <a:headEnd type="oval"/>
            <a:tailEnd type="arrow"/>
          </a:ln>
          <a:effectLst/>
        </p:spPr>
        <p:txBody>
          <a:bodyPr wrap="none" anchor="ctr"/>
          <a:lstStyle/>
          <a:p>
            <a:pPr>
              <a:defRPr/>
            </a:pPr>
            <a:endParaRPr lang="en-US" kern="0">
              <a:solidFill>
                <a:prstClr val="black"/>
              </a:solidFill>
            </a:endParaRPr>
          </a:p>
        </p:txBody>
      </p:sp>
      <p:sp>
        <p:nvSpPr>
          <p:cNvPr id="32" name="Rectangle 31"/>
          <p:cNvSpPr>
            <a:spLocks noChangeArrowheads="1"/>
          </p:cNvSpPr>
          <p:nvPr/>
        </p:nvSpPr>
        <p:spPr bwMode="auto">
          <a:xfrm>
            <a:off x="312074" y="4724878"/>
            <a:ext cx="5107214" cy="523220"/>
          </a:xfrm>
          <a:prstGeom prst="rect">
            <a:avLst/>
          </a:prstGeom>
          <a:noFill/>
          <a:ln w="9525">
            <a:noFill/>
            <a:miter lim="800000"/>
            <a:headEnd/>
            <a:tailEnd/>
          </a:ln>
          <a:effectLst/>
        </p:spPr>
        <p:txBody>
          <a:bodyPr wrap="square">
            <a:spAutoFit/>
          </a:bodyPr>
          <a:lstStyle/>
          <a:p>
            <a:pPr algn="ctr" eaLnBrk="0" hangingPunct="0">
              <a:spcBef>
                <a:spcPct val="0"/>
              </a:spcBef>
              <a:spcAft>
                <a:spcPct val="0"/>
              </a:spcAft>
            </a:pPr>
            <a:r>
              <a:rPr lang="en-US" sz="1400" dirty="0">
                <a:solidFill>
                  <a:prstClr val="black"/>
                </a:solidFill>
                <a:latin typeface="3M Circular TT Light" panose="020B0404020101020102" pitchFamily="34" charset="0"/>
                <a:cs typeface="3M Circular TT Light" panose="020B0404020101020102" pitchFamily="34" charset="0"/>
              </a:rPr>
              <a:t>Polycarbonate lens with protective hardcoat protects against abrasion or scratches to keep the lens </a:t>
            </a:r>
            <a:r>
              <a:rPr lang="en-US" sz="1400" dirty="0" smtClean="0">
                <a:solidFill>
                  <a:prstClr val="black"/>
                </a:solidFill>
                <a:latin typeface="3M Circular TT Light" panose="020B0404020101020102" pitchFamily="34" charset="0"/>
                <a:cs typeface="3M Circular TT Light" panose="020B0404020101020102" pitchFamily="34" charset="0"/>
              </a:rPr>
              <a:t>clearer</a:t>
            </a:r>
            <a:endParaRPr lang="en-US" sz="1400" dirty="0">
              <a:solidFill>
                <a:prstClr val="black"/>
              </a:solidFill>
              <a:latin typeface="3M Circular TT Light" panose="020B0404020101020102" pitchFamily="34" charset="0"/>
              <a:cs typeface="3M Circular TT Light" panose="020B0404020101020102" pitchFamily="34" charset="0"/>
            </a:endParaRPr>
          </a:p>
        </p:txBody>
      </p:sp>
      <p:graphicFrame>
        <p:nvGraphicFramePr>
          <p:cNvPr id="7" name="Table 6"/>
          <p:cNvGraphicFramePr>
            <a:graphicFrameLocks noGrp="1"/>
          </p:cNvGraphicFramePr>
          <p:nvPr>
            <p:extLst/>
          </p:nvPr>
        </p:nvGraphicFramePr>
        <p:xfrm>
          <a:off x="6385887" y="2253694"/>
          <a:ext cx="5601980" cy="1798320"/>
        </p:xfrm>
        <a:graphic>
          <a:graphicData uri="http://schemas.openxmlformats.org/drawingml/2006/table">
            <a:tbl>
              <a:tblPr firstRow="1" bandRow="1">
                <a:tableStyleId>{5940675A-B579-460E-94D1-54222C63F5DA}</a:tableStyleId>
              </a:tblPr>
              <a:tblGrid>
                <a:gridCol w="560198">
                  <a:extLst>
                    <a:ext uri="{9D8B030D-6E8A-4147-A177-3AD203B41FA5}">
                      <a16:colId xmlns="" xmlns:a16="http://schemas.microsoft.com/office/drawing/2014/main" val="20000"/>
                    </a:ext>
                  </a:extLst>
                </a:gridCol>
                <a:gridCol w="560198">
                  <a:extLst>
                    <a:ext uri="{9D8B030D-6E8A-4147-A177-3AD203B41FA5}">
                      <a16:colId xmlns="" xmlns:a16="http://schemas.microsoft.com/office/drawing/2014/main" val="20001"/>
                    </a:ext>
                  </a:extLst>
                </a:gridCol>
                <a:gridCol w="560198">
                  <a:extLst>
                    <a:ext uri="{9D8B030D-6E8A-4147-A177-3AD203B41FA5}">
                      <a16:colId xmlns="" xmlns:a16="http://schemas.microsoft.com/office/drawing/2014/main" val="20002"/>
                    </a:ext>
                  </a:extLst>
                </a:gridCol>
                <a:gridCol w="560198">
                  <a:extLst>
                    <a:ext uri="{9D8B030D-6E8A-4147-A177-3AD203B41FA5}">
                      <a16:colId xmlns="" xmlns:a16="http://schemas.microsoft.com/office/drawing/2014/main" val="20003"/>
                    </a:ext>
                  </a:extLst>
                </a:gridCol>
                <a:gridCol w="560198">
                  <a:extLst>
                    <a:ext uri="{9D8B030D-6E8A-4147-A177-3AD203B41FA5}">
                      <a16:colId xmlns="" xmlns:a16="http://schemas.microsoft.com/office/drawing/2014/main" val="20004"/>
                    </a:ext>
                  </a:extLst>
                </a:gridCol>
                <a:gridCol w="560198">
                  <a:extLst>
                    <a:ext uri="{9D8B030D-6E8A-4147-A177-3AD203B41FA5}">
                      <a16:colId xmlns="" xmlns:a16="http://schemas.microsoft.com/office/drawing/2014/main" val="20005"/>
                    </a:ext>
                  </a:extLst>
                </a:gridCol>
                <a:gridCol w="560198">
                  <a:extLst>
                    <a:ext uri="{9D8B030D-6E8A-4147-A177-3AD203B41FA5}">
                      <a16:colId xmlns="" xmlns:a16="http://schemas.microsoft.com/office/drawing/2014/main" val="20006"/>
                    </a:ext>
                  </a:extLst>
                </a:gridCol>
                <a:gridCol w="560198">
                  <a:extLst>
                    <a:ext uri="{9D8B030D-6E8A-4147-A177-3AD203B41FA5}">
                      <a16:colId xmlns="" xmlns:a16="http://schemas.microsoft.com/office/drawing/2014/main" val="20007"/>
                    </a:ext>
                  </a:extLst>
                </a:gridCol>
                <a:gridCol w="560198">
                  <a:extLst>
                    <a:ext uri="{9D8B030D-6E8A-4147-A177-3AD203B41FA5}">
                      <a16:colId xmlns="" xmlns:a16="http://schemas.microsoft.com/office/drawing/2014/main" val="20008"/>
                    </a:ext>
                  </a:extLst>
                </a:gridCol>
                <a:gridCol w="560198">
                  <a:extLst>
                    <a:ext uri="{9D8B030D-6E8A-4147-A177-3AD203B41FA5}">
                      <a16:colId xmlns="" xmlns:a16="http://schemas.microsoft.com/office/drawing/2014/main" val="20009"/>
                    </a:ext>
                  </a:extLst>
                </a:gridCol>
              </a:tblGrid>
              <a:tr h="370840">
                <a:tc gridSpan="2">
                  <a:txBody>
                    <a:bodyPr/>
                    <a:lstStyle/>
                    <a:p>
                      <a:pPr algn="ctr"/>
                      <a:r>
                        <a:rPr lang="en-US" sz="1200" b="1" dirty="0">
                          <a:latin typeface="3M Circular TT Light" panose="020B0404020101020102" pitchFamily="34" charset="0"/>
                          <a:cs typeface="3M Circular TT Light" panose="020B0404020101020102" pitchFamily="34" charset="0"/>
                        </a:rPr>
                        <a:t>Simulated Distance</a:t>
                      </a:r>
                    </a:p>
                  </a:txBody>
                  <a:tcPr anchor="ctr">
                    <a:solidFill>
                      <a:schemeClr val="tx2"/>
                    </a:solidFill>
                  </a:tcPr>
                </a:tc>
                <a:tc hMerge="1">
                  <a:txBody>
                    <a:bodyPr/>
                    <a:lstStyle/>
                    <a:p>
                      <a:pPr algn="ctr"/>
                      <a:endParaRPr lang="en-US" sz="1200" dirty="0">
                        <a:latin typeface="3M Circular TT Light" panose="020B0404020101020102" pitchFamily="34" charset="0"/>
                        <a:cs typeface="3M Circular TT Light" panose="020B0404020101020102" pitchFamily="34" charset="0"/>
                      </a:endParaRPr>
                    </a:p>
                  </a:txBody>
                  <a:tcPr anchor="ctr"/>
                </a:tc>
                <a:tc gridSpan="2">
                  <a:txBody>
                    <a:bodyPr/>
                    <a:lstStyle/>
                    <a:p>
                      <a:pPr algn="ctr"/>
                      <a:r>
                        <a:rPr lang="en-US" sz="1200" b="1" dirty="0">
                          <a:latin typeface="3M Circular TT Light" panose="020B0404020101020102" pitchFamily="34" charset="0"/>
                          <a:cs typeface="3M Circular TT Light" panose="020B0404020101020102" pitchFamily="34" charset="0"/>
                        </a:rPr>
                        <a:t>White</a:t>
                      </a:r>
                    </a:p>
                  </a:txBody>
                  <a:tcPr anchor="ctr"/>
                </a:tc>
                <a:tc hMerge="1">
                  <a:txBody>
                    <a:bodyPr/>
                    <a:lstStyle/>
                    <a:p>
                      <a:pPr algn="ctr"/>
                      <a:endParaRPr lang="en-US" sz="1200" dirty="0">
                        <a:latin typeface="3M Circular TT Light" panose="020B0404020101020102" pitchFamily="34" charset="0"/>
                        <a:cs typeface="3M Circular TT Light" panose="020B0404020101020102" pitchFamily="34" charset="0"/>
                      </a:endParaRPr>
                    </a:p>
                  </a:txBody>
                  <a:tcPr anchor="ctr"/>
                </a:tc>
                <a:tc gridSpan="2">
                  <a:txBody>
                    <a:bodyPr/>
                    <a:lstStyle/>
                    <a:p>
                      <a:pPr algn="ctr"/>
                      <a:r>
                        <a:rPr lang="en-US" sz="1200" b="1" dirty="0">
                          <a:latin typeface="3M Circular TT Light" panose="020B0404020101020102" pitchFamily="34" charset="0"/>
                          <a:cs typeface="3M Circular TT Light" panose="020B0404020101020102" pitchFamily="34" charset="0"/>
                        </a:rPr>
                        <a:t>Yellow</a:t>
                      </a:r>
                    </a:p>
                  </a:txBody>
                  <a:tcPr anchor="ctr">
                    <a:solidFill>
                      <a:srgbClr val="FFFF00"/>
                    </a:solidFill>
                  </a:tcPr>
                </a:tc>
                <a:tc hMerge="1">
                  <a:txBody>
                    <a:bodyPr/>
                    <a:lstStyle/>
                    <a:p>
                      <a:pPr algn="ctr"/>
                      <a:endParaRPr lang="en-US" sz="1200" dirty="0">
                        <a:latin typeface="3M Circular TT Light" panose="020B0404020101020102" pitchFamily="34" charset="0"/>
                        <a:cs typeface="3M Circular TT Light" panose="020B0404020101020102" pitchFamily="34" charset="0"/>
                      </a:endParaRPr>
                    </a:p>
                  </a:txBody>
                  <a:tcPr anchor="ctr"/>
                </a:tc>
                <a:tc gridSpan="2">
                  <a:txBody>
                    <a:bodyPr/>
                    <a:lstStyle/>
                    <a:p>
                      <a:pPr algn="ctr"/>
                      <a:r>
                        <a:rPr lang="en-US" sz="1200" b="1" dirty="0">
                          <a:latin typeface="3M Circular TT Light" panose="020B0404020101020102" pitchFamily="34" charset="0"/>
                          <a:cs typeface="3M Circular TT Light" panose="020B0404020101020102" pitchFamily="34" charset="0"/>
                        </a:rPr>
                        <a:t>Red</a:t>
                      </a:r>
                    </a:p>
                  </a:txBody>
                  <a:tcPr anchor="ctr">
                    <a:solidFill>
                      <a:srgbClr val="C00000"/>
                    </a:solidFill>
                  </a:tcPr>
                </a:tc>
                <a:tc hMerge="1">
                  <a:txBody>
                    <a:bodyPr/>
                    <a:lstStyle/>
                    <a:p>
                      <a:pPr algn="ctr"/>
                      <a:endParaRPr lang="en-US" sz="1200" dirty="0">
                        <a:latin typeface="3M Circular TT Light" panose="020B0404020101020102" pitchFamily="34" charset="0"/>
                        <a:cs typeface="3M Circular TT Light" panose="020B0404020101020102" pitchFamily="34" charset="0"/>
                      </a:endParaRPr>
                    </a:p>
                  </a:txBody>
                  <a:tcPr anchor="ctr"/>
                </a:tc>
                <a:tc gridSpan="2">
                  <a:txBody>
                    <a:bodyPr/>
                    <a:lstStyle/>
                    <a:p>
                      <a:pPr algn="ctr"/>
                      <a:r>
                        <a:rPr lang="en-US" sz="1200" b="1" dirty="0">
                          <a:latin typeface="3M Circular TT Light" panose="020B0404020101020102" pitchFamily="34" charset="0"/>
                          <a:cs typeface="3M Circular TT Light" panose="020B0404020101020102" pitchFamily="34" charset="0"/>
                        </a:rPr>
                        <a:t>Blue</a:t>
                      </a:r>
                    </a:p>
                  </a:txBody>
                  <a:tcPr anchor="ctr">
                    <a:solidFill>
                      <a:srgbClr val="00B0F0"/>
                    </a:solidFill>
                  </a:tcPr>
                </a:tc>
                <a:tc hMerge="1">
                  <a:txBody>
                    <a:bodyPr/>
                    <a:lstStyle/>
                    <a:p>
                      <a:pPr algn="ctr"/>
                      <a:endParaRPr lang="en-US" sz="1200" dirty="0">
                        <a:latin typeface="3M Circular TT Light" panose="020B0404020101020102" pitchFamily="34" charset="0"/>
                        <a:cs typeface="3M Circular TT Light" panose="020B0404020101020102" pitchFamily="34" charset="0"/>
                      </a:endParaRPr>
                    </a:p>
                  </a:txBody>
                  <a:tcPr anchor="ctr"/>
                </a:tc>
                <a:extLst>
                  <a:ext uri="{0D108BD9-81ED-4DB2-BD59-A6C34878D82A}">
                    <a16:rowId xmlns="" xmlns:a16="http://schemas.microsoft.com/office/drawing/2014/main" val="10000"/>
                  </a:ext>
                </a:extLst>
              </a:tr>
              <a:tr h="207874">
                <a:tc>
                  <a:txBody>
                    <a:bodyPr/>
                    <a:lstStyle/>
                    <a:p>
                      <a:pPr algn="ctr"/>
                      <a:r>
                        <a:rPr lang="en-US" sz="900" b="1" i="1" dirty="0">
                          <a:latin typeface="3M Circular TT Light" panose="020B0404020101020102" pitchFamily="34" charset="0"/>
                          <a:cs typeface="3M Circular TT Light" panose="020B0404020101020102" pitchFamily="34" charset="0"/>
                        </a:rPr>
                        <a:t>Feet</a:t>
                      </a:r>
                    </a:p>
                  </a:txBody>
                  <a:tcPr anchor="ctr">
                    <a:solidFill>
                      <a:schemeClr val="bg1">
                        <a:lumMod val="95000"/>
                      </a:schemeClr>
                    </a:solidFill>
                  </a:tcPr>
                </a:tc>
                <a:tc>
                  <a:txBody>
                    <a:bodyPr/>
                    <a:lstStyle/>
                    <a:p>
                      <a:pPr algn="ctr"/>
                      <a:r>
                        <a:rPr lang="en-US" sz="900" b="1" i="1" dirty="0">
                          <a:latin typeface="3M Circular TT Light" panose="020B0404020101020102" pitchFamily="34" charset="0"/>
                          <a:cs typeface="3M Circular TT Light" panose="020B0404020101020102" pitchFamily="34" charset="0"/>
                        </a:rPr>
                        <a:t>Meters</a:t>
                      </a:r>
                    </a:p>
                  </a:txBody>
                  <a:tcPr anchor="ctr">
                    <a:solidFill>
                      <a:schemeClr val="bg1">
                        <a:lumMod val="95000"/>
                      </a:schemeClr>
                    </a:solidFill>
                  </a:tcPr>
                </a:tc>
                <a:tc>
                  <a:txBody>
                    <a:bodyPr/>
                    <a:lstStyle/>
                    <a:p>
                      <a:pPr algn="ctr"/>
                      <a:r>
                        <a:rPr lang="en-US" sz="900" b="1" i="1" dirty="0">
                          <a:latin typeface="3M Circular TT Light" panose="020B0404020101020102" pitchFamily="34" charset="0"/>
                          <a:cs typeface="3M Circular TT Light" panose="020B0404020101020102" pitchFamily="34" charset="0"/>
                        </a:rPr>
                        <a:t>Min. </a:t>
                      </a:r>
                    </a:p>
                  </a:txBody>
                  <a:tcPr anchor="ctr"/>
                </a:tc>
                <a:tc>
                  <a:txBody>
                    <a:bodyPr/>
                    <a:lstStyle/>
                    <a:p>
                      <a:pPr algn="ctr"/>
                      <a:r>
                        <a:rPr lang="en-US" sz="900" b="1" i="1" dirty="0">
                          <a:latin typeface="3M Circular TT Light" panose="020B0404020101020102" pitchFamily="34" charset="0"/>
                          <a:cs typeface="3M Circular TT Light" panose="020B0404020101020102" pitchFamily="34" charset="0"/>
                        </a:rPr>
                        <a:t>Typical</a:t>
                      </a:r>
                    </a:p>
                  </a:txBody>
                  <a:tcPr anchor="ctr"/>
                </a:tc>
                <a:tc>
                  <a:txBody>
                    <a:bodyPr/>
                    <a:lstStyle/>
                    <a:p>
                      <a:pPr algn="ctr"/>
                      <a:r>
                        <a:rPr lang="en-US" sz="900" b="1" i="1" dirty="0">
                          <a:latin typeface="3M Circular TT Light" panose="020B0404020101020102" pitchFamily="34" charset="0"/>
                          <a:cs typeface="3M Circular TT Light" panose="020B0404020101020102" pitchFamily="34" charset="0"/>
                        </a:rPr>
                        <a:t>Min.</a:t>
                      </a:r>
                      <a:endParaRPr lang="en-US" sz="800" b="1" i="1" dirty="0">
                        <a:latin typeface="3M Circular TT Light" panose="020B0404020101020102" pitchFamily="34" charset="0"/>
                        <a:cs typeface="3M Circular TT Light" panose="020B0404020101020102" pitchFamily="34" charset="0"/>
                      </a:endParaRPr>
                    </a:p>
                  </a:txBody>
                  <a:tcPr anchor="ctr">
                    <a:solidFill>
                      <a:schemeClr val="accent1">
                        <a:lumMod val="20000"/>
                        <a:lumOff val="80000"/>
                      </a:schemeClr>
                    </a:solidFill>
                  </a:tcPr>
                </a:tc>
                <a:tc>
                  <a:txBody>
                    <a:bodyPr/>
                    <a:lstStyle/>
                    <a:p>
                      <a:pPr algn="ctr"/>
                      <a:r>
                        <a:rPr lang="en-US" sz="900" b="1" i="1" dirty="0">
                          <a:latin typeface="3M Circular TT Light" panose="020B0404020101020102" pitchFamily="34" charset="0"/>
                          <a:cs typeface="3M Circular TT Light" panose="020B0404020101020102" pitchFamily="34" charset="0"/>
                        </a:rPr>
                        <a:t>Typical</a:t>
                      </a:r>
                    </a:p>
                  </a:txBody>
                  <a:tcPr anchor="ctr">
                    <a:solidFill>
                      <a:schemeClr val="accent1">
                        <a:lumMod val="20000"/>
                        <a:lumOff val="80000"/>
                      </a:schemeClr>
                    </a:solidFill>
                  </a:tcPr>
                </a:tc>
                <a:tc>
                  <a:txBody>
                    <a:bodyPr/>
                    <a:lstStyle/>
                    <a:p>
                      <a:pPr algn="ctr"/>
                      <a:r>
                        <a:rPr lang="en-US" sz="900" b="1" i="1" dirty="0">
                          <a:latin typeface="3M Circular TT Light" panose="020B0404020101020102" pitchFamily="34" charset="0"/>
                          <a:cs typeface="3M Circular TT Light" panose="020B0404020101020102" pitchFamily="34" charset="0"/>
                        </a:rPr>
                        <a:t>Min. </a:t>
                      </a:r>
                    </a:p>
                  </a:txBody>
                  <a:tcPr anchor="ctr">
                    <a:solidFill>
                      <a:schemeClr val="accent6">
                        <a:lumMod val="20000"/>
                        <a:lumOff val="80000"/>
                      </a:schemeClr>
                    </a:solidFill>
                  </a:tcPr>
                </a:tc>
                <a:tc>
                  <a:txBody>
                    <a:bodyPr/>
                    <a:lstStyle/>
                    <a:p>
                      <a:pPr algn="ctr"/>
                      <a:r>
                        <a:rPr lang="en-US" sz="900" b="1" i="1" dirty="0">
                          <a:latin typeface="3M Circular TT Light" panose="020B0404020101020102" pitchFamily="34" charset="0"/>
                          <a:cs typeface="3M Circular TT Light" panose="020B0404020101020102" pitchFamily="34" charset="0"/>
                        </a:rPr>
                        <a:t>Typical</a:t>
                      </a:r>
                    </a:p>
                  </a:txBody>
                  <a:tcPr anchor="ctr">
                    <a:solidFill>
                      <a:schemeClr val="accent6">
                        <a:lumMod val="20000"/>
                        <a:lumOff val="80000"/>
                      </a:schemeClr>
                    </a:solidFill>
                  </a:tcPr>
                </a:tc>
                <a:tc>
                  <a:txBody>
                    <a:bodyPr/>
                    <a:lstStyle/>
                    <a:p>
                      <a:pPr algn="ctr"/>
                      <a:r>
                        <a:rPr lang="en-US" sz="900" b="1" i="1" dirty="0">
                          <a:latin typeface="3M Circular TT Light" panose="020B0404020101020102" pitchFamily="34" charset="0"/>
                          <a:cs typeface="3M Circular TT Light" panose="020B0404020101020102" pitchFamily="34" charset="0"/>
                        </a:rPr>
                        <a:t>Min.</a:t>
                      </a:r>
                    </a:p>
                  </a:txBody>
                  <a:tcPr anchor="ctr">
                    <a:solidFill>
                      <a:schemeClr val="accent3">
                        <a:lumMod val="20000"/>
                        <a:lumOff val="80000"/>
                      </a:schemeClr>
                    </a:solidFill>
                  </a:tcPr>
                </a:tc>
                <a:tc>
                  <a:txBody>
                    <a:bodyPr/>
                    <a:lstStyle/>
                    <a:p>
                      <a:pPr algn="ctr"/>
                      <a:r>
                        <a:rPr lang="en-US" sz="900" b="1" i="1" dirty="0">
                          <a:latin typeface="3M Circular TT Light" panose="020B0404020101020102" pitchFamily="34" charset="0"/>
                          <a:cs typeface="3M Circular TT Light" panose="020B0404020101020102" pitchFamily="34" charset="0"/>
                        </a:rPr>
                        <a:t>Typical</a:t>
                      </a:r>
                    </a:p>
                  </a:txBody>
                  <a:tcPr anchor="ctr">
                    <a:solidFill>
                      <a:schemeClr val="accent3">
                        <a:lumMod val="20000"/>
                        <a:lumOff val="80000"/>
                      </a:schemeClr>
                    </a:solidFill>
                  </a:tcPr>
                </a:tc>
                <a:extLst>
                  <a:ext uri="{0D108BD9-81ED-4DB2-BD59-A6C34878D82A}">
                    <a16:rowId xmlns="" xmlns:a16="http://schemas.microsoft.com/office/drawing/2014/main" val="10001"/>
                  </a:ext>
                </a:extLst>
              </a:tr>
              <a:tr h="370840">
                <a:tc>
                  <a:txBody>
                    <a:bodyPr/>
                    <a:lstStyle/>
                    <a:p>
                      <a:pPr algn="ctr"/>
                      <a:r>
                        <a:rPr lang="en-US" sz="1100" dirty="0">
                          <a:latin typeface="3M Circular TT Light" panose="020B0404020101020102" pitchFamily="34" charset="0"/>
                          <a:cs typeface="3M Circular TT Light" panose="020B0404020101020102" pitchFamily="34" charset="0"/>
                        </a:rPr>
                        <a:t>100</a:t>
                      </a:r>
                    </a:p>
                  </a:txBody>
                  <a:tcPr anchor="ctr">
                    <a:solidFill>
                      <a:schemeClr val="bg1">
                        <a:lumMod val="95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30</a:t>
                      </a:r>
                    </a:p>
                  </a:txBody>
                  <a:tcPr anchor="ctr">
                    <a:solidFill>
                      <a:schemeClr val="bg1">
                        <a:lumMod val="95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40</a:t>
                      </a:r>
                    </a:p>
                  </a:txBody>
                  <a:tcPr anchor="ctr"/>
                </a:tc>
                <a:tc>
                  <a:txBody>
                    <a:bodyPr/>
                    <a:lstStyle/>
                    <a:p>
                      <a:pPr algn="ctr"/>
                      <a:r>
                        <a:rPr lang="en-US" sz="1100" dirty="0">
                          <a:latin typeface="3M Circular TT Light" panose="020B0404020101020102" pitchFamily="34" charset="0"/>
                          <a:cs typeface="3M Circular TT Light" panose="020B0404020101020102" pitchFamily="34" charset="0"/>
                        </a:rPr>
                        <a:t>80</a:t>
                      </a:r>
                    </a:p>
                  </a:txBody>
                  <a:tcPr anchor="ctr"/>
                </a:tc>
                <a:tc>
                  <a:txBody>
                    <a:bodyPr/>
                    <a:lstStyle/>
                    <a:p>
                      <a:pPr algn="ctr"/>
                      <a:r>
                        <a:rPr lang="en-US" sz="1100" dirty="0">
                          <a:latin typeface="3M Circular TT Light" panose="020B0404020101020102" pitchFamily="34" charset="0"/>
                          <a:cs typeface="3M Circular TT Light" panose="020B0404020101020102" pitchFamily="34" charset="0"/>
                        </a:rPr>
                        <a:t>24</a:t>
                      </a:r>
                    </a:p>
                  </a:txBody>
                  <a:tcPr anchor="ctr">
                    <a:solidFill>
                      <a:schemeClr val="accent1">
                        <a:lumMod val="20000"/>
                        <a:lumOff val="80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48</a:t>
                      </a:r>
                    </a:p>
                  </a:txBody>
                  <a:tcPr anchor="ctr">
                    <a:solidFill>
                      <a:schemeClr val="accent1">
                        <a:lumMod val="20000"/>
                        <a:lumOff val="80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10</a:t>
                      </a:r>
                    </a:p>
                  </a:txBody>
                  <a:tcPr anchor="ctr">
                    <a:solidFill>
                      <a:schemeClr val="accent6">
                        <a:lumMod val="20000"/>
                        <a:lumOff val="80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20</a:t>
                      </a:r>
                    </a:p>
                  </a:txBody>
                  <a:tcPr anchor="ctr">
                    <a:solidFill>
                      <a:schemeClr val="accent6">
                        <a:lumMod val="20000"/>
                        <a:lumOff val="80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4</a:t>
                      </a:r>
                    </a:p>
                  </a:txBody>
                  <a:tcPr anchor="ctr">
                    <a:solidFill>
                      <a:schemeClr val="accent3">
                        <a:lumMod val="20000"/>
                        <a:lumOff val="80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8</a:t>
                      </a:r>
                    </a:p>
                  </a:txBody>
                  <a:tcPr anchor="ctr">
                    <a:solidFill>
                      <a:schemeClr val="accent3">
                        <a:lumMod val="20000"/>
                        <a:lumOff val="80000"/>
                      </a:schemeClr>
                    </a:solidFill>
                  </a:tcPr>
                </a:tc>
                <a:extLst>
                  <a:ext uri="{0D108BD9-81ED-4DB2-BD59-A6C34878D82A}">
                    <a16:rowId xmlns="" xmlns:a16="http://schemas.microsoft.com/office/drawing/2014/main" val="10002"/>
                  </a:ext>
                </a:extLst>
              </a:tr>
              <a:tr h="370840">
                <a:tc>
                  <a:txBody>
                    <a:bodyPr/>
                    <a:lstStyle/>
                    <a:p>
                      <a:pPr algn="ctr"/>
                      <a:r>
                        <a:rPr lang="en-US" sz="1100" dirty="0">
                          <a:latin typeface="3M Circular TT Light" panose="020B0404020101020102" pitchFamily="34" charset="0"/>
                          <a:cs typeface="3M Circular TT Light" panose="020B0404020101020102" pitchFamily="34" charset="0"/>
                        </a:rPr>
                        <a:t>300</a:t>
                      </a:r>
                    </a:p>
                  </a:txBody>
                  <a:tcPr anchor="ctr">
                    <a:solidFill>
                      <a:schemeClr val="bg1">
                        <a:lumMod val="95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91</a:t>
                      </a:r>
                    </a:p>
                  </a:txBody>
                  <a:tcPr anchor="ctr">
                    <a:solidFill>
                      <a:schemeClr val="bg1">
                        <a:lumMod val="95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350</a:t>
                      </a:r>
                    </a:p>
                  </a:txBody>
                  <a:tcPr anchor="ctr"/>
                </a:tc>
                <a:tc>
                  <a:txBody>
                    <a:bodyPr/>
                    <a:lstStyle/>
                    <a:p>
                      <a:pPr algn="ctr"/>
                      <a:r>
                        <a:rPr lang="en-US" sz="1100" dirty="0">
                          <a:latin typeface="3M Circular TT Light" panose="020B0404020101020102" pitchFamily="34" charset="0"/>
                          <a:cs typeface="3M Circular TT Light" panose="020B0404020101020102" pitchFamily="34" charset="0"/>
                        </a:rPr>
                        <a:t>500</a:t>
                      </a:r>
                    </a:p>
                  </a:txBody>
                  <a:tcPr anchor="ctr"/>
                </a:tc>
                <a:tc>
                  <a:txBody>
                    <a:bodyPr/>
                    <a:lstStyle/>
                    <a:p>
                      <a:pPr algn="ctr"/>
                      <a:r>
                        <a:rPr lang="en-US" sz="1100" dirty="0">
                          <a:latin typeface="3M Circular TT Light" panose="020B0404020101020102" pitchFamily="34" charset="0"/>
                          <a:cs typeface="3M Circular TT Light" panose="020B0404020101020102" pitchFamily="34" charset="0"/>
                        </a:rPr>
                        <a:t>210</a:t>
                      </a:r>
                    </a:p>
                  </a:txBody>
                  <a:tcPr anchor="ctr">
                    <a:solidFill>
                      <a:schemeClr val="accent1">
                        <a:lumMod val="20000"/>
                        <a:lumOff val="80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300</a:t>
                      </a:r>
                    </a:p>
                  </a:txBody>
                  <a:tcPr anchor="ctr">
                    <a:solidFill>
                      <a:schemeClr val="accent1">
                        <a:lumMod val="20000"/>
                        <a:lumOff val="80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88</a:t>
                      </a:r>
                    </a:p>
                  </a:txBody>
                  <a:tcPr anchor="ctr">
                    <a:solidFill>
                      <a:schemeClr val="accent6">
                        <a:lumMod val="20000"/>
                        <a:lumOff val="80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125</a:t>
                      </a:r>
                    </a:p>
                  </a:txBody>
                  <a:tcPr anchor="ctr">
                    <a:solidFill>
                      <a:schemeClr val="accent6">
                        <a:lumMod val="20000"/>
                        <a:lumOff val="80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35</a:t>
                      </a:r>
                    </a:p>
                  </a:txBody>
                  <a:tcPr anchor="ctr">
                    <a:solidFill>
                      <a:schemeClr val="accent3">
                        <a:lumMod val="20000"/>
                        <a:lumOff val="80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50</a:t>
                      </a:r>
                    </a:p>
                  </a:txBody>
                  <a:tcPr anchor="ctr">
                    <a:solidFill>
                      <a:schemeClr val="accent3">
                        <a:lumMod val="20000"/>
                        <a:lumOff val="80000"/>
                      </a:schemeClr>
                    </a:solidFill>
                  </a:tcPr>
                </a:tc>
                <a:extLst>
                  <a:ext uri="{0D108BD9-81ED-4DB2-BD59-A6C34878D82A}">
                    <a16:rowId xmlns="" xmlns:a16="http://schemas.microsoft.com/office/drawing/2014/main" val="10003"/>
                  </a:ext>
                </a:extLst>
              </a:tr>
              <a:tr h="370840">
                <a:tc>
                  <a:txBody>
                    <a:bodyPr/>
                    <a:lstStyle/>
                    <a:p>
                      <a:pPr algn="ctr"/>
                      <a:r>
                        <a:rPr lang="en-US" sz="1100" dirty="0">
                          <a:latin typeface="3M Circular TT Light" panose="020B0404020101020102" pitchFamily="34" charset="0"/>
                          <a:cs typeface="3M Circular TT Light" panose="020B0404020101020102" pitchFamily="34" charset="0"/>
                        </a:rPr>
                        <a:t>500</a:t>
                      </a:r>
                    </a:p>
                  </a:txBody>
                  <a:tcPr anchor="ctr">
                    <a:solidFill>
                      <a:schemeClr val="bg1">
                        <a:lumMod val="95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152</a:t>
                      </a:r>
                    </a:p>
                  </a:txBody>
                  <a:tcPr anchor="ctr">
                    <a:solidFill>
                      <a:schemeClr val="bg1">
                        <a:lumMod val="95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600</a:t>
                      </a:r>
                    </a:p>
                  </a:txBody>
                  <a:tcPr anchor="ctr"/>
                </a:tc>
                <a:tc>
                  <a:txBody>
                    <a:bodyPr/>
                    <a:lstStyle/>
                    <a:p>
                      <a:pPr algn="ctr"/>
                      <a:r>
                        <a:rPr lang="en-US" sz="1100" dirty="0">
                          <a:latin typeface="3M Circular TT Light" panose="020B0404020101020102" pitchFamily="34" charset="0"/>
                          <a:cs typeface="3M Circular TT Light" panose="020B0404020101020102" pitchFamily="34" charset="0"/>
                        </a:rPr>
                        <a:t>1000</a:t>
                      </a:r>
                    </a:p>
                  </a:txBody>
                  <a:tcPr anchor="ctr"/>
                </a:tc>
                <a:tc>
                  <a:txBody>
                    <a:bodyPr/>
                    <a:lstStyle/>
                    <a:p>
                      <a:pPr algn="ctr"/>
                      <a:r>
                        <a:rPr lang="en-US" sz="1100" dirty="0">
                          <a:latin typeface="3M Circular TT Light" panose="020B0404020101020102" pitchFamily="34" charset="0"/>
                          <a:cs typeface="3M Circular TT Light" panose="020B0404020101020102" pitchFamily="34" charset="0"/>
                        </a:rPr>
                        <a:t>360</a:t>
                      </a:r>
                    </a:p>
                  </a:txBody>
                  <a:tcPr anchor="ctr">
                    <a:solidFill>
                      <a:schemeClr val="accent1">
                        <a:lumMod val="20000"/>
                        <a:lumOff val="80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600</a:t>
                      </a:r>
                    </a:p>
                  </a:txBody>
                  <a:tcPr anchor="ctr">
                    <a:solidFill>
                      <a:schemeClr val="accent1">
                        <a:lumMod val="20000"/>
                        <a:lumOff val="80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150</a:t>
                      </a:r>
                    </a:p>
                  </a:txBody>
                  <a:tcPr anchor="ctr">
                    <a:solidFill>
                      <a:schemeClr val="accent6">
                        <a:lumMod val="20000"/>
                        <a:lumOff val="80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250</a:t>
                      </a:r>
                    </a:p>
                  </a:txBody>
                  <a:tcPr anchor="ctr">
                    <a:solidFill>
                      <a:schemeClr val="accent6">
                        <a:lumMod val="20000"/>
                        <a:lumOff val="80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60</a:t>
                      </a:r>
                    </a:p>
                  </a:txBody>
                  <a:tcPr anchor="ctr">
                    <a:solidFill>
                      <a:schemeClr val="accent3">
                        <a:lumMod val="20000"/>
                        <a:lumOff val="80000"/>
                      </a:schemeClr>
                    </a:solidFill>
                  </a:tcPr>
                </a:tc>
                <a:tc>
                  <a:txBody>
                    <a:bodyPr/>
                    <a:lstStyle/>
                    <a:p>
                      <a:pPr algn="ctr"/>
                      <a:r>
                        <a:rPr lang="en-US" sz="1100" dirty="0">
                          <a:latin typeface="3M Circular TT Light" panose="020B0404020101020102" pitchFamily="34" charset="0"/>
                          <a:cs typeface="3M Circular TT Light" panose="020B0404020101020102" pitchFamily="34" charset="0"/>
                        </a:rPr>
                        <a:t>100</a:t>
                      </a:r>
                    </a:p>
                  </a:txBody>
                  <a:tcPr anchor="ctr">
                    <a:solidFill>
                      <a:schemeClr val="accent3">
                        <a:lumMod val="20000"/>
                        <a:lumOff val="80000"/>
                      </a:schemeClr>
                    </a:solidFill>
                  </a:tcPr>
                </a:tc>
                <a:extLst>
                  <a:ext uri="{0D108BD9-81ED-4DB2-BD59-A6C34878D82A}">
                    <a16:rowId xmlns="" xmlns:a16="http://schemas.microsoft.com/office/drawing/2014/main" val="10004"/>
                  </a:ext>
                </a:extLst>
              </a:tr>
            </a:tbl>
          </a:graphicData>
        </a:graphic>
      </p:graphicFrame>
      <p:sp>
        <p:nvSpPr>
          <p:cNvPr id="8" name="TextBox 7"/>
          <p:cNvSpPr txBox="1"/>
          <p:nvPr/>
        </p:nvSpPr>
        <p:spPr>
          <a:xfrm>
            <a:off x="6385888" y="2002532"/>
            <a:ext cx="5582660" cy="184666"/>
          </a:xfrm>
          <a:prstGeom prst="rect">
            <a:avLst/>
          </a:prstGeom>
          <a:noFill/>
        </p:spPr>
        <p:txBody>
          <a:bodyPr wrap="square" lIns="0" tIns="0" rIns="0" bIns="0" rtlCol="0">
            <a:spAutoFit/>
          </a:bodyPr>
          <a:lstStyle/>
          <a:p>
            <a:pPr algn="ctr"/>
            <a:r>
              <a:rPr lang="en-US" sz="1200" dirty="0">
                <a:solidFill>
                  <a:prstClr val="black"/>
                </a:solidFill>
              </a:rPr>
              <a:t>3M</a:t>
            </a:r>
            <a:r>
              <a:rPr lang="en-US" sz="1200" dirty="0">
                <a:solidFill>
                  <a:prstClr val="black"/>
                </a:solidFill>
                <a:latin typeface="3M Circular TT Bold" panose="020B0804020101010102" pitchFamily="34" charset="0"/>
                <a:cs typeface="3M Circular TT Bold" panose="020B0804020101010102" pitchFamily="34" charset="0"/>
              </a:rPr>
              <a:t>™</a:t>
            </a:r>
            <a:r>
              <a:rPr lang="en-US" sz="1200" dirty="0">
                <a:solidFill>
                  <a:prstClr val="black"/>
                </a:solidFill>
              </a:rPr>
              <a:t> 290 Lens Minimum and Typical Retroreflectivity: (mcd/lux)*</a:t>
            </a:r>
          </a:p>
        </p:txBody>
      </p:sp>
      <p:sp>
        <p:nvSpPr>
          <p:cNvPr id="9" name="Rectangle 8"/>
          <p:cNvSpPr/>
          <p:nvPr/>
        </p:nvSpPr>
        <p:spPr>
          <a:xfrm>
            <a:off x="379412" y="5451740"/>
            <a:ext cx="11589136" cy="629953"/>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0" name="TextBox 9"/>
          <p:cNvSpPr txBox="1"/>
          <p:nvPr/>
        </p:nvSpPr>
        <p:spPr>
          <a:xfrm>
            <a:off x="379412" y="5606879"/>
            <a:ext cx="1862626" cy="307777"/>
          </a:xfrm>
          <a:prstGeom prst="rect">
            <a:avLst/>
          </a:prstGeom>
          <a:noFill/>
        </p:spPr>
        <p:txBody>
          <a:bodyPr wrap="square" lIns="0" tIns="0" rIns="0" bIns="0" rtlCol="0">
            <a:spAutoFit/>
          </a:bodyPr>
          <a:lstStyle/>
          <a:p>
            <a:pPr algn="ctr"/>
            <a:r>
              <a:rPr lang="en-US" sz="2000" dirty="0">
                <a:solidFill>
                  <a:prstClr val="black"/>
                </a:solidFill>
              </a:rPr>
              <a:t>Bottom Line:</a:t>
            </a:r>
          </a:p>
        </p:txBody>
      </p:sp>
      <p:sp>
        <p:nvSpPr>
          <p:cNvPr id="11" name="TextBox 10"/>
          <p:cNvSpPr txBox="1"/>
          <p:nvPr/>
        </p:nvSpPr>
        <p:spPr>
          <a:xfrm>
            <a:off x="1984803" y="5612008"/>
            <a:ext cx="9946801" cy="307777"/>
          </a:xfrm>
          <a:prstGeom prst="rect">
            <a:avLst/>
          </a:prstGeom>
          <a:noFill/>
        </p:spPr>
        <p:txBody>
          <a:bodyPr wrap="square" lIns="0" tIns="0" rIns="0" bIns="0" rtlCol="0">
            <a:spAutoFit/>
          </a:bodyPr>
          <a:lstStyle/>
          <a:p>
            <a:pPr algn="ctr"/>
            <a:r>
              <a:rPr lang="en-US" sz="2000" dirty="0">
                <a:solidFill>
                  <a:prstClr val="black"/>
                </a:solidFill>
                <a:latin typeface="3M Circular TT Light" panose="020B0404020101020102" pitchFamily="34" charset="0"/>
                <a:cs typeface="3M Circular TT Light" panose="020B0404020101020102" pitchFamily="34" charset="0"/>
              </a:rPr>
              <a:t>3M™ Raised Pavement Markers are highly visible at night and in rainy conditions</a:t>
            </a:r>
          </a:p>
        </p:txBody>
      </p:sp>
      <p:sp>
        <p:nvSpPr>
          <p:cNvPr id="36" name="TextBox 35"/>
          <p:cNvSpPr txBox="1"/>
          <p:nvPr/>
        </p:nvSpPr>
        <p:spPr>
          <a:xfrm>
            <a:off x="8340941" y="6384174"/>
            <a:ext cx="3217486" cy="369332"/>
          </a:xfrm>
          <a:prstGeom prst="rect">
            <a:avLst/>
          </a:prstGeom>
          <a:noFill/>
        </p:spPr>
        <p:txBody>
          <a:bodyPr wrap="square" lIns="0" tIns="0" rIns="0" bIns="0" rtlCol="0">
            <a:spAutoFit/>
          </a:bodyPr>
          <a:lstStyle/>
          <a:p>
            <a:pPr algn="r"/>
            <a:r>
              <a:rPr lang="en-US" sz="1200" dirty="0">
                <a:solidFill>
                  <a:prstClr val="black"/>
                </a:solidFill>
              </a:rPr>
              <a:t>*Note: Lens was designed to be brighter farther away due to observation angle</a:t>
            </a:r>
          </a:p>
        </p:txBody>
      </p:sp>
    </p:spTree>
    <p:extLst>
      <p:ext uri="{BB962C8B-B14F-4D97-AF65-F5344CB8AC3E}">
        <p14:creationId xmlns:p14="http://schemas.microsoft.com/office/powerpoint/2010/main" val="409240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6" name="Object 11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90" name="think-cell Slide" r:id="rId30" imgW="270" imgH="270" progId="TCLayout.ActiveDocument.1">
                  <p:embed/>
                </p:oleObj>
              </mc:Choice>
              <mc:Fallback>
                <p:oleObj name="think-cell Slide" r:id="rId30" imgW="270" imgH="27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115" name="Rectangle 114" hidden="1"/>
          <p:cNvSpPr/>
          <p:nvPr>
            <p:custDataLst>
              <p:tags r:id="rId3"/>
            </p:custDataLst>
          </p:nvPr>
        </p:nvSpPr>
        <p:spPr bwMode="auto">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endParaRPr lang="en-US" sz="1000" dirty="0">
              <a:solidFill>
                <a:srgbClr val="FFFFFF"/>
              </a:solidFill>
              <a:ea typeface="+mj-ea"/>
              <a:cs typeface="+mj-cs"/>
              <a:sym typeface="+mn-lt"/>
            </a:endParaRPr>
          </a:p>
        </p:txBody>
      </p:sp>
      <p:sp>
        <p:nvSpPr>
          <p:cNvPr id="13" name="Title 1"/>
          <p:cNvSpPr>
            <a:spLocks noGrp="1"/>
          </p:cNvSpPr>
          <p:nvPr>
            <p:ph type="title"/>
          </p:nvPr>
        </p:nvSpPr>
        <p:spPr>
          <a:xfrm>
            <a:off x="379412" y="379414"/>
            <a:ext cx="11425237" cy="457200"/>
          </a:xfrm>
        </p:spPr>
        <p:txBody>
          <a:bodyPr/>
          <a:lstStyle/>
          <a:p>
            <a:r>
              <a:rPr lang="en-US" dirty="0"/>
              <a:t>3M’s Unique Selling Advantage: </a:t>
            </a:r>
            <a:r>
              <a:rPr lang="en-US" dirty="0">
                <a:solidFill>
                  <a:srgbClr val="00B0F0"/>
                </a:solidFill>
              </a:rPr>
              <a:t>Durable Construction</a:t>
            </a:r>
          </a:p>
        </p:txBody>
      </p:sp>
      <p:sp>
        <p:nvSpPr>
          <p:cNvPr id="18" name="Rectangle 17"/>
          <p:cNvSpPr/>
          <p:nvPr/>
        </p:nvSpPr>
        <p:spPr>
          <a:xfrm>
            <a:off x="6385887" y="1343107"/>
            <a:ext cx="5601979" cy="529397"/>
          </a:xfrm>
          <a:prstGeom prst="rect">
            <a:avLst/>
          </a:prstGeom>
          <a:solidFill>
            <a:schemeClr val="bg1"/>
          </a:solid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prstClr val="black"/>
                </a:solidFill>
              </a:rPr>
              <a:t>NTPEP On-Road Durability Test Data</a:t>
            </a:r>
          </a:p>
        </p:txBody>
      </p:sp>
      <p:sp>
        <p:nvSpPr>
          <p:cNvPr id="19" name="TextBox 18"/>
          <p:cNvSpPr txBox="1"/>
          <p:nvPr/>
        </p:nvSpPr>
        <p:spPr>
          <a:xfrm>
            <a:off x="379413" y="6414952"/>
            <a:ext cx="5583237" cy="153888"/>
          </a:xfrm>
          <a:prstGeom prst="rect">
            <a:avLst/>
          </a:prstGeom>
          <a:noFill/>
        </p:spPr>
        <p:txBody>
          <a:bodyPr wrap="square" lIns="0" tIns="0" rIns="0" bIns="0" rtlCol="0">
            <a:spAutoFit/>
          </a:bodyPr>
          <a:lstStyle/>
          <a:p>
            <a:r>
              <a:rPr lang="en-US" sz="1000" dirty="0">
                <a:solidFill>
                  <a:prstClr val="black"/>
                </a:solidFill>
              </a:rPr>
              <a:t>Source: </a:t>
            </a:r>
            <a:r>
              <a:rPr lang="en-US" sz="1000" dirty="0">
                <a:solidFill>
                  <a:prstClr val="black"/>
                </a:solidFill>
                <a:latin typeface="3M Circular TT Light" panose="020B0404020101020102" pitchFamily="34" charset="0"/>
                <a:cs typeface="3M Circular TT Light" panose="020B0404020101020102" pitchFamily="34" charset="0"/>
              </a:rPr>
              <a:t>3M™ Series 290 Product Bulletin, NTPEP # RPM (08GA0-04)</a:t>
            </a:r>
          </a:p>
        </p:txBody>
      </p:sp>
      <p:sp>
        <p:nvSpPr>
          <p:cNvPr id="20" name="Text Placeholder 3"/>
          <p:cNvSpPr>
            <a:spLocks noGrp="1"/>
          </p:cNvSpPr>
          <p:nvPr>
            <p:ph type="body" sz="quarter" idx="10"/>
          </p:nvPr>
        </p:nvSpPr>
        <p:spPr>
          <a:xfrm>
            <a:off x="381000" y="841248"/>
            <a:ext cx="11430000" cy="365760"/>
          </a:xfrm>
        </p:spPr>
        <p:txBody>
          <a:bodyPr/>
          <a:lstStyle/>
          <a:p>
            <a:r>
              <a:rPr lang="en-US" sz="2000" dirty="0">
                <a:solidFill>
                  <a:schemeClr val="tx1">
                    <a:lumMod val="50000"/>
                    <a:lumOff val="50000"/>
                  </a:schemeClr>
                </a:solidFill>
              </a:rPr>
              <a:t>Impact resistant polycarbonate body and lens coating deliver </a:t>
            </a:r>
            <a:r>
              <a:rPr lang="en-US" sz="2000" dirty="0">
                <a:solidFill>
                  <a:srgbClr val="808080"/>
                </a:solidFill>
              </a:rPr>
              <a:t>superb</a:t>
            </a:r>
            <a:r>
              <a:rPr lang="en-US" sz="2000" dirty="0">
                <a:solidFill>
                  <a:schemeClr val="tx1">
                    <a:lumMod val="50000"/>
                    <a:lumOff val="50000"/>
                  </a:schemeClr>
                </a:solidFill>
              </a:rPr>
              <a:t> body </a:t>
            </a:r>
            <a:r>
              <a:rPr lang="en-US" sz="2000" u="sng" dirty="0">
                <a:solidFill>
                  <a:schemeClr val="tx1">
                    <a:lumMod val="50000"/>
                    <a:lumOff val="50000"/>
                  </a:schemeClr>
                </a:solidFill>
              </a:rPr>
              <a:t>and</a:t>
            </a:r>
            <a:r>
              <a:rPr lang="en-US" sz="2000" dirty="0">
                <a:solidFill>
                  <a:schemeClr val="tx1">
                    <a:lumMod val="50000"/>
                    <a:lumOff val="50000"/>
                  </a:schemeClr>
                </a:solidFill>
              </a:rPr>
              <a:t> lens durability</a:t>
            </a:r>
          </a:p>
        </p:txBody>
      </p:sp>
      <p:sp>
        <p:nvSpPr>
          <p:cNvPr id="27" name="Rectangle 26"/>
          <p:cNvSpPr/>
          <p:nvPr/>
        </p:nvSpPr>
        <p:spPr>
          <a:xfrm>
            <a:off x="379412" y="1343107"/>
            <a:ext cx="5347403" cy="529397"/>
          </a:xfrm>
          <a:prstGeom prst="rect">
            <a:avLst/>
          </a:prstGeom>
          <a:solidFill>
            <a:schemeClr val="bg1"/>
          </a:solid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prstClr val="black"/>
                </a:solidFill>
              </a:rPr>
              <a:t>3M</a:t>
            </a:r>
            <a:r>
              <a:rPr lang="en-US" sz="2000" dirty="0">
                <a:solidFill>
                  <a:prstClr val="black"/>
                </a:solidFill>
                <a:latin typeface="3M Circular TT Bold" panose="020B0804020101010102" pitchFamily="34" charset="0"/>
                <a:cs typeface="3M Circular TT Bold" panose="020B0804020101010102" pitchFamily="34" charset="0"/>
              </a:rPr>
              <a:t>™</a:t>
            </a:r>
            <a:r>
              <a:rPr lang="en-US" sz="2000" dirty="0">
                <a:solidFill>
                  <a:prstClr val="black"/>
                </a:solidFill>
              </a:rPr>
              <a:t> RPM 290 Durability Features</a:t>
            </a:r>
          </a:p>
        </p:txBody>
      </p:sp>
      <p:pic>
        <p:nvPicPr>
          <p:cNvPr id="28" name="Picture 2" descr="PM290 Y-on-Y-LR"/>
          <p:cNvPicPr>
            <a:picLocks noChangeAspect="1" noChangeArrowheads="1"/>
          </p:cNvPicPr>
          <p:nvPr/>
        </p:nvPicPr>
        <p:blipFill>
          <a:blip r:embed="rId32" cstate="print"/>
          <a:srcRect/>
          <a:stretch>
            <a:fillRect/>
          </a:stretch>
        </p:blipFill>
        <p:spPr bwMode="auto">
          <a:xfrm>
            <a:off x="1547125" y="2619404"/>
            <a:ext cx="3011976" cy="1578055"/>
          </a:xfrm>
          <a:prstGeom prst="rect">
            <a:avLst/>
          </a:prstGeom>
          <a:noFill/>
          <a:effectLst>
            <a:innerShdw blurRad="939800">
              <a:prstClr val="black">
                <a:alpha val="75000"/>
              </a:prstClr>
            </a:innerShdw>
          </a:effectLst>
        </p:spPr>
      </p:pic>
      <p:sp>
        <p:nvSpPr>
          <p:cNvPr id="30" name="Line 4"/>
          <p:cNvSpPr>
            <a:spLocks noChangeShapeType="1"/>
          </p:cNvSpPr>
          <p:nvPr/>
        </p:nvSpPr>
        <p:spPr bwMode="auto">
          <a:xfrm flipV="1">
            <a:off x="1524521" y="3273311"/>
            <a:ext cx="1420902" cy="1347486"/>
          </a:xfrm>
          <a:prstGeom prst="line">
            <a:avLst/>
          </a:prstGeom>
          <a:noFill/>
          <a:ln w="31750">
            <a:solidFill>
              <a:srgbClr val="FF0000"/>
            </a:solidFill>
            <a:prstDash val="sysDot"/>
            <a:round/>
            <a:headEnd type="oval"/>
            <a:tailEnd type="arrow"/>
          </a:ln>
          <a:effectLst/>
        </p:spPr>
        <p:txBody>
          <a:bodyPr wrap="none" anchor="ctr"/>
          <a:lstStyle/>
          <a:p>
            <a:pPr fontAlgn="base">
              <a:spcBef>
                <a:spcPct val="0"/>
              </a:spcBef>
              <a:spcAft>
                <a:spcPct val="0"/>
              </a:spcAft>
              <a:defRPr/>
            </a:pPr>
            <a:endParaRPr lang="en-US" kern="0">
              <a:solidFill>
                <a:prstClr val="black"/>
              </a:solidFill>
              <a:cs typeface="Arial" charset="0"/>
            </a:endParaRPr>
          </a:p>
        </p:txBody>
      </p:sp>
      <p:sp>
        <p:nvSpPr>
          <p:cNvPr id="21" name="Text Box 3"/>
          <p:cNvSpPr txBox="1">
            <a:spLocks noChangeArrowheads="1"/>
          </p:cNvSpPr>
          <p:nvPr/>
        </p:nvSpPr>
        <p:spPr bwMode="auto">
          <a:xfrm>
            <a:off x="490822" y="4599626"/>
            <a:ext cx="1760417" cy="523220"/>
          </a:xfrm>
          <a:prstGeom prst="rect">
            <a:avLst/>
          </a:prstGeom>
          <a:noFill/>
          <a:ln w="9525">
            <a:noFill/>
            <a:miter lim="800000"/>
            <a:headEnd/>
            <a:tailEnd/>
          </a:ln>
          <a:effectLst/>
        </p:spPr>
        <p:txBody>
          <a:bodyPr wrap="none">
            <a:spAutoFit/>
          </a:bodyPr>
          <a:lstStyle/>
          <a:p>
            <a:pPr algn="ctr" eaLnBrk="0" fontAlgn="base" hangingPunct="0">
              <a:spcBef>
                <a:spcPct val="0"/>
              </a:spcBef>
              <a:spcAft>
                <a:spcPct val="0"/>
              </a:spcAft>
            </a:pPr>
            <a:r>
              <a:rPr lang="en-US" sz="1400" dirty="0">
                <a:solidFill>
                  <a:prstClr val="black"/>
                </a:solidFill>
                <a:latin typeface="3M Circular TT Light" panose="020B0404020101020102" pitchFamily="34" charset="0"/>
                <a:cs typeface="3M Circular TT Light" panose="020B0404020101020102" pitchFamily="34" charset="0"/>
              </a:rPr>
              <a:t>Impact resistant </a:t>
            </a:r>
          </a:p>
          <a:p>
            <a:pPr algn="ctr" eaLnBrk="0" fontAlgn="base" hangingPunct="0">
              <a:spcBef>
                <a:spcPct val="0"/>
              </a:spcBef>
              <a:spcAft>
                <a:spcPct val="0"/>
              </a:spcAft>
            </a:pPr>
            <a:r>
              <a:rPr lang="en-US" sz="1400" dirty="0">
                <a:solidFill>
                  <a:prstClr val="black"/>
                </a:solidFill>
                <a:latin typeface="3M Circular TT Light" panose="020B0404020101020102" pitchFamily="34" charset="0"/>
                <a:cs typeface="3M Circular TT Light" panose="020B0404020101020102" pitchFamily="34" charset="0"/>
              </a:rPr>
              <a:t>polycarbonate body</a:t>
            </a:r>
          </a:p>
        </p:txBody>
      </p:sp>
      <p:sp>
        <p:nvSpPr>
          <p:cNvPr id="23" name="Rectangle 5"/>
          <p:cNvSpPr>
            <a:spLocks noChangeArrowheads="1"/>
          </p:cNvSpPr>
          <p:nvPr/>
        </p:nvSpPr>
        <p:spPr bwMode="auto">
          <a:xfrm>
            <a:off x="996620" y="1941636"/>
            <a:ext cx="3959738" cy="523220"/>
          </a:xfrm>
          <a:prstGeom prst="rect">
            <a:avLst/>
          </a:prstGeom>
          <a:noFill/>
          <a:ln w="9525">
            <a:noFill/>
            <a:miter lim="800000"/>
            <a:headEnd/>
            <a:tailEnd/>
          </a:ln>
          <a:effectLst/>
        </p:spPr>
        <p:txBody>
          <a:bodyPr wrap="none">
            <a:spAutoFit/>
          </a:bodyPr>
          <a:lstStyle/>
          <a:p>
            <a:pPr algn="ctr" eaLnBrk="0" fontAlgn="base" hangingPunct="0">
              <a:spcBef>
                <a:spcPct val="0"/>
              </a:spcBef>
              <a:spcAft>
                <a:spcPct val="0"/>
              </a:spcAft>
            </a:pPr>
            <a:r>
              <a:rPr lang="en-US" sz="1400" dirty="0">
                <a:solidFill>
                  <a:prstClr val="black"/>
                </a:solidFill>
                <a:latin typeface="3M Circular TT Light" panose="020B0404020101020102" pitchFamily="34" charset="0"/>
                <a:cs typeface="3M Circular TT Light" panose="020B0404020101020102" pitchFamily="34" charset="0"/>
              </a:rPr>
              <a:t>Polycarbonate lens with protective</a:t>
            </a:r>
          </a:p>
          <a:p>
            <a:pPr algn="ctr" eaLnBrk="0" fontAlgn="base" hangingPunct="0">
              <a:spcBef>
                <a:spcPct val="0"/>
              </a:spcBef>
              <a:spcAft>
                <a:spcPct val="0"/>
              </a:spcAft>
            </a:pPr>
            <a:r>
              <a:rPr lang="en-US" sz="1400" dirty="0">
                <a:solidFill>
                  <a:prstClr val="black"/>
                </a:solidFill>
                <a:latin typeface="3M Circular TT Light" panose="020B0404020101020102" pitchFamily="34" charset="0"/>
                <a:cs typeface="3M Circular TT Light" panose="020B0404020101020102" pitchFamily="34" charset="0"/>
              </a:rPr>
              <a:t> hardcoat and independent cells to resist cracks </a:t>
            </a:r>
          </a:p>
        </p:txBody>
      </p:sp>
      <p:sp>
        <p:nvSpPr>
          <p:cNvPr id="24" name="Rectangle 23"/>
          <p:cNvSpPr>
            <a:spLocks noChangeArrowheads="1"/>
          </p:cNvSpPr>
          <p:nvPr/>
        </p:nvSpPr>
        <p:spPr bwMode="auto">
          <a:xfrm>
            <a:off x="2590799" y="4593293"/>
            <a:ext cx="2666114" cy="523220"/>
          </a:xfrm>
          <a:prstGeom prst="rect">
            <a:avLst/>
          </a:prstGeom>
          <a:noFill/>
          <a:ln w="9525">
            <a:noFill/>
            <a:miter lim="800000"/>
            <a:headEnd/>
            <a:tailEnd/>
          </a:ln>
          <a:effectLst/>
        </p:spPr>
        <p:txBody>
          <a:bodyPr wrap="square">
            <a:spAutoFit/>
          </a:bodyPr>
          <a:lstStyle/>
          <a:p>
            <a:pPr algn="ctr" eaLnBrk="0" fontAlgn="base" hangingPunct="0">
              <a:spcBef>
                <a:spcPct val="0"/>
              </a:spcBef>
              <a:spcAft>
                <a:spcPct val="0"/>
              </a:spcAft>
            </a:pPr>
            <a:r>
              <a:rPr lang="en-US" sz="1400" dirty="0">
                <a:solidFill>
                  <a:prstClr val="black"/>
                </a:solidFill>
                <a:latin typeface="3M Circular TT Light" panose="020B0404020101020102" pitchFamily="34" charset="0"/>
                <a:cs typeface="3M Circular TT Light" panose="020B0404020101020102" pitchFamily="34" charset="0"/>
              </a:rPr>
              <a:t>Computer-aided</a:t>
            </a:r>
          </a:p>
          <a:p>
            <a:pPr algn="ctr" eaLnBrk="0" fontAlgn="base" hangingPunct="0">
              <a:spcBef>
                <a:spcPct val="0"/>
              </a:spcBef>
              <a:spcAft>
                <a:spcPct val="0"/>
              </a:spcAft>
            </a:pPr>
            <a:r>
              <a:rPr lang="en-US" sz="1400" dirty="0">
                <a:solidFill>
                  <a:prstClr val="black"/>
                </a:solidFill>
                <a:latin typeface="3M Circular TT Light" panose="020B0404020101020102" pitchFamily="34" charset="0"/>
                <a:cs typeface="3M Circular TT Light" panose="020B0404020101020102" pitchFamily="34" charset="0"/>
              </a:rPr>
              <a:t>internal rib design</a:t>
            </a:r>
          </a:p>
        </p:txBody>
      </p:sp>
      <p:sp>
        <p:nvSpPr>
          <p:cNvPr id="25" name="Line 7"/>
          <p:cNvSpPr>
            <a:spLocks noChangeShapeType="1"/>
          </p:cNvSpPr>
          <p:nvPr/>
        </p:nvSpPr>
        <p:spPr bwMode="auto">
          <a:xfrm>
            <a:off x="2679700" y="2482408"/>
            <a:ext cx="1114099" cy="856101"/>
          </a:xfrm>
          <a:prstGeom prst="line">
            <a:avLst/>
          </a:prstGeom>
          <a:noFill/>
          <a:ln w="31750">
            <a:solidFill>
              <a:srgbClr val="FF0000"/>
            </a:solidFill>
            <a:prstDash val="sysDot"/>
            <a:round/>
            <a:headEnd type="oval"/>
            <a:tailEnd type="arrow"/>
          </a:ln>
          <a:effectLst/>
        </p:spPr>
        <p:txBody>
          <a:bodyPr wrap="none" anchor="ctr"/>
          <a:lstStyle/>
          <a:p>
            <a:pPr fontAlgn="base">
              <a:spcBef>
                <a:spcPct val="0"/>
              </a:spcBef>
              <a:spcAft>
                <a:spcPct val="0"/>
              </a:spcAft>
              <a:defRPr/>
            </a:pPr>
            <a:endParaRPr lang="en-US" kern="0">
              <a:solidFill>
                <a:prstClr val="black"/>
              </a:solidFill>
              <a:cs typeface="Arial" charset="0"/>
            </a:endParaRPr>
          </a:p>
        </p:txBody>
      </p:sp>
      <p:sp>
        <p:nvSpPr>
          <p:cNvPr id="26" name="Line 12"/>
          <p:cNvSpPr>
            <a:spLocks noChangeShapeType="1"/>
          </p:cNvSpPr>
          <p:nvPr/>
        </p:nvSpPr>
        <p:spPr bwMode="auto">
          <a:xfrm flipH="1" flipV="1">
            <a:off x="3305907" y="3610483"/>
            <a:ext cx="597877" cy="1010314"/>
          </a:xfrm>
          <a:prstGeom prst="line">
            <a:avLst/>
          </a:prstGeom>
          <a:noFill/>
          <a:ln w="31750">
            <a:solidFill>
              <a:srgbClr val="FF0000"/>
            </a:solidFill>
            <a:prstDash val="sysDot"/>
            <a:round/>
            <a:headEnd type="oval"/>
            <a:tailEnd type="arrow" w="med" len="med"/>
          </a:ln>
          <a:effectLst/>
        </p:spPr>
        <p:txBody>
          <a:bodyPr wrap="none" anchor="ctr"/>
          <a:lstStyle/>
          <a:p>
            <a:pPr fontAlgn="base">
              <a:spcBef>
                <a:spcPct val="0"/>
              </a:spcBef>
              <a:spcAft>
                <a:spcPct val="0"/>
              </a:spcAft>
              <a:defRPr/>
            </a:pPr>
            <a:endParaRPr lang="en-US" kern="0">
              <a:solidFill>
                <a:prstClr val="black"/>
              </a:solidFill>
              <a:cs typeface="Arial" charset="0"/>
            </a:endParaRPr>
          </a:p>
        </p:txBody>
      </p:sp>
      <p:cxnSp>
        <p:nvCxnSpPr>
          <p:cNvPr id="101" name="Straight Connector 100"/>
          <p:cNvCxnSpPr/>
          <p:nvPr>
            <p:custDataLst>
              <p:tags r:id="rId4"/>
            </p:custDataLst>
          </p:nvPr>
        </p:nvCxnSpPr>
        <p:spPr bwMode="auto">
          <a:xfrm>
            <a:off x="7372350" y="2733675"/>
            <a:ext cx="4429125"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custDataLst>
              <p:tags r:id="rId5"/>
            </p:custDataLst>
          </p:nvPr>
        </p:nvCxnSpPr>
        <p:spPr bwMode="auto">
          <a:xfrm>
            <a:off x="7372350" y="3467100"/>
            <a:ext cx="4429125"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p:custDataLst>
              <p:tags r:id="rId6"/>
            </p:custDataLst>
          </p:nvPr>
        </p:nvCxnSpPr>
        <p:spPr bwMode="auto">
          <a:xfrm>
            <a:off x="7372350" y="3095625"/>
            <a:ext cx="4429125"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custDataLst>
              <p:tags r:id="rId7"/>
            </p:custDataLst>
          </p:nvPr>
        </p:nvCxnSpPr>
        <p:spPr bwMode="auto">
          <a:xfrm>
            <a:off x="7372350" y="3829050"/>
            <a:ext cx="4429125" cy="0"/>
          </a:xfrm>
          <a:prstGeom prst="line">
            <a:avLst/>
          </a:prstGeom>
          <a:ln w="952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7" name="Object 36"/>
          <p:cNvGraphicFramePr>
            <a:graphicFrameLocks/>
          </p:cNvGraphicFramePr>
          <p:nvPr>
            <p:custDataLst>
              <p:tags r:id="rId8"/>
            </p:custDataLst>
            <p:extLst/>
          </p:nvPr>
        </p:nvGraphicFramePr>
        <p:xfrm>
          <a:off x="7200899" y="2247899"/>
          <a:ext cx="4714900" cy="2047950"/>
        </p:xfrm>
        <a:graphic>
          <a:graphicData uri="http://schemas.openxmlformats.org/presentationml/2006/ole">
            <mc:AlternateContent xmlns:mc="http://schemas.openxmlformats.org/markup-compatibility/2006">
              <mc:Choice xmlns:v="urn:schemas-microsoft-com:vml" Requires="v">
                <p:oleObj spid="_x0000_s58391" name="Chart" r:id="rId33" imgW="4714900" imgH="2047950" progId="MSGraph.Chart.8">
                  <p:embed followColorScheme="full"/>
                </p:oleObj>
              </mc:Choice>
              <mc:Fallback>
                <p:oleObj name="Chart" r:id="rId33" imgW="4714900" imgH="2047950" progId="MSGraph.Chart.8">
                  <p:embed followColorScheme="full"/>
                  <p:pic>
                    <p:nvPicPr>
                      <p:cNvPr id="0" name=""/>
                      <p:cNvPicPr/>
                      <p:nvPr/>
                    </p:nvPicPr>
                    <p:blipFill>
                      <a:blip r:embed="rId34"/>
                      <a:stretch>
                        <a:fillRect/>
                      </a:stretch>
                    </p:blipFill>
                    <p:spPr>
                      <a:xfrm>
                        <a:off x="7200899" y="2247899"/>
                        <a:ext cx="4714900" cy="2047950"/>
                      </a:xfrm>
                      <a:prstGeom prst="rect">
                        <a:avLst/>
                      </a:prstGeom>
                    </p:spPr>
                  </p:pic>
                </p:oleObj>
              </mc:Fallback>
            </mc:AlternateContent>
          </a:graphicData>
        </a:graphic>
      </p:graphicFrame>
      <p:sp>
        <p:nvSpPr>
          <p:cNvPr id="94" name="Text Placeholder 2"/>
          <p:cNvSpPr>
            <a:spLocks noGrp="1"/>
          </p:cNvSpPr>
          <p:nvPr>
            <p:custDataLst>
              <p:tags r:id="rId9"/>
            </p:custDataLst>
          </p:nvPr>
        </p:nvSpPr>
        <p:spPr bwMode="gray">
          <a:xfrm>
            <a:off x="6677025" y="4124325"/>
            <a:ext cx="5937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D0742FF3-F6DD-4D4A-8470-07D8954389BB}" type="datetime'''''0'''''''''''''''''''''''''''''''''''''">
              <a:rPr altLang="en-US" sz="1000" b="1">
                <a:solidFill>
                  <a:prstClr val="black"/>
                </a:solidFill>
                <a:sym typeface="+mn-lt"/>
              </a:rPr>
              <a:pPr algn="r">
                <a:lnSpc>
                  <a:spcPct val="100000"/>
                </a:lnSpc>
                <a:spcBef>
                  <a:spcPct val="0"/>
                </a:spcBef>
                <a:spcAft>
                  <a:spcPct val="0"/>
                </a:spcAft>
              </a:pPr>
              <a:t>0</a:t>
            </a:fld>
            <a:r>
              <a:rPr altLang="en-US" sz="1000">
                <a:solidFill>
                  <a:prstClr val="black"/>
                </a:solidFill>
                <a:sym typeface="+mn-lt"/>
              </a:rPr>
              <a:t>, Missing</a:t>
            </a:r>
            <a:endParaRPr sz="1000">
              <a:solidFill>
                <a:prstClr val="black"/>
              </a:solidFill>
              <a:sym typeface="+mn-lt"/>
            </a:endParaRPr>
          </a:p>
        </p:txBody>
      </p:sp>
      <p:sp>
        <p:nvSpPr>
          <p:cNvPr id="95" name="Text Placeholder 2"/>
          <p:cNvSpPr>
            <a:spLocks noGrp="1"/>
          </p:cNvSpPr>
          <p:nvPr>
            <p:custDataLst>
              <p:tags r:id="rId10"/>
            </p:custDataLst>
          </p:nvPr>
        </p:nvSpPr>
        <p:spPr bwMode="gray">
          <a:xfrm>
            <a:off x="6589713" y="3752850"/>
            <a:ext cx="6810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F19CB1FB-221F-477F-892E-133937B2DCCB}" type="datetime'''''''''''''''1'''''''''''''''''''''''''">
              <a:rPr altLang="en-US" sz="1000" b="1">
                <a:solidFill>
                  <a:prstClr val="black"/>
                </a:solidFill>
                <a:sym typeface="+mn-lt"/>
              </a:rPr>
              <a:pPr algn="r">
                <a:lnSpc>
                  <a:spcPct val="100000"/>
                </a:lnSpc>
                <a:spcBef>
                  <a:spcPct val="0"/>
                </a:spcBef>
                <a:spcAft>
                  <a:spcPct val="0"/>
                </a:spcAft>
              </a:pPr>
              <a:t>1</a:t>
            </a:fld>
            <a:r>
              <a:rPr altLang="en-US" sz="1000" dirty="0">
                <a:solidFill>
                  <a:prstClr val="black"/>
                </a:solidFill>
                <a:sym typeface="+mn-lt"/>
              </a:rPr>
              <a:t>, Very Poor</a:t>
            </a:r>
            <a:endParaRPr sz="1000" dirty="0">
              <a:solidFill>
                <a:prstClr val="black"/>
              </a:solidFill>
              <a:sym typeface="+mn-lt"/>
            </a:endParaRPr>
          </a:p>
        </p:txBody>
      </p:sp>
      <p:sp>
        <p:nvSpPr>
          <p:cNvPr id="96" name="Text Placeholder 2"/>
          <p:cNvSpPr>
            <a:spLocks noGrp="1"/>
          </p:cNvSpPr>
          <p:nvPr>
            <p:custDataLst>
              <p:tags r:id="rId11"/>
            </p:custDataLst>
          </p:nvPr>
        </p:nvSpPr>
        <p:spPr bwMode="gray">
          <a:xfrm>
            <a:off x="6831013" y="3390900"/>
            <a:ext cx="4397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768C6085-B344-4D72-96BF-A4E43E7BC029}" type="datetime'''''''''''''''''2'''''''''''''''''''''''''''">
              <a:rPr altLang="en-US" sz="1000" b="1">
                <a:solidFill>
                  <a:prstClr val="black"/>
                </a:solidFill>
                <a:sym typeface="+mn-lt"/>
              </a:rPr>
              <a:pPr algn="r">
                <a:lnSpc>
                  <a:spcPct val="100000"/>
                </a:lnSpc>
                <a:spcBef>
                  <a:spcPct val="0"/>
                </a:spcBef>
                <a:spcAft>
                  <a:spcPct val="0"/>
                </a:spcAft>
              </a:pPr>
              <a:t>2</a:t>
            </a:fld>
            <a:r>
              <a:rPr altLang="en-US" sz="1000" dirty="0">
                <a:solidFill>
                  <a:prstClr val="black"/>
                </a:solidFill>
                <a:sym typeface="+mn-lt"/>
              </a:rPr>
              <a:t>, Poor </a:t>
            </a:r>
            <a:endParaRPr sz="1000" dirty="0">
              <a:solidFill>
                <a:prstClr val="black"/>
              </a:solidFill>
              <a:sym typeface="+mn-lt"/>
            </a:endParaRPr>
          </a:p>
        </p:txBody>
      </p:sp>
      <p:sp>
        <p:nvSpPr>
          <p:cNvPr id="97" name="Text Placeholder 2"/>
          <p:cNvSpPr>
            <a:spLocks noGrp="1"/>
          </p:cNvSpPr>
          <p:nvPr>
            <p:custDataLst>
              <p:tags r:id="rId12"/>
            </p:custDataLst>
          </p:nvPr>
        </p:nvSpPr>
        <p:spPr bwMode="gray">
          <a:xfrm>
            <a:off x="6856413" y="3019425"/>
            <a:ext cx="4143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7E353073-56DB-4B34-89C1-03562DE45D27}" type="datetime'''''''''''''''''''''''''''''3'''''''''''''''''''''">
              <a:rPr altLang="en-US" sz="1000" b="1">
                <a:solidFill>
                  <a:prstClr val="black"/>
                </a:solidFill>
                <a:sym typeface="+mn-lt"/>
              </a:rPr>
              <a:pPr algn="r">
                <a:lnSpc>
                  <a:spcPct val="100000"/>
                </a:lnSpc>
                <a:spcBef>
                  <a:spcPct val="0"/>
                </a:spcBef>
                <a:spcAft>
                  <a:spcPct val="0"/>
                </a:spcAft>
              </a:pPr>
              <a:t>3</a:t>
            </a:fld>
            <a:r>
              <a:rPr altLang="en-US" sz="1000" dirty="0">
                <a:solidFill>
                  <a:prstClr val="black"/>
                </a:solidFill>
                <a:sym typeface="+mn-lt"/>
              </a:rPr>
              <a:t>, Fair”</a:t>
            </a:r>
            <a:endParaRPr sz="1000" dirty="0">
              <a:solidFill>
                <a:prstClr val="black"/>
              </a:solidFill>
              <a:sym typeface="+mn-lt"/>
            </a:endParaRPr>
          </a:p>
        </p:txBody>
      </p:sp>
      <p:sp>
        <p:nvSpPr>
          <p:cNvPr id="98" name="Text Placeholder 2"/>
          <p:cNvSpPr>
            <a:spLocks noGrp="1"/>
          </p:cNvSpPr>
          <p:nvPr>
            <p:custDataLst>
              <p:tags r:id="rId13"/>
            </p:custDataLst>
          </p:nvPr>
        </p:nvSpPr>
        <p:spPr bwMode="gray">
          <a:xfrm>
            <a:off x="6807200" y="2657475"/>
            <a:ext cx="4635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42668B72-BD5E-4F69-AE4F-C0E0AD2E46AB}" type="datetime'4'''''''''''''''''''''''''''''''''''''''''''''''''''''''''''''">
              <a:rPr altLang="en-US" sz="1000" b="1">
                <a:solidFill>
                  <a:prstClr val="black"/>
                </a:solidFill>
                <a:sym typeface="+mn-lt"/>
              </a:rPr>
              <a:pPr algn="r">
                <a:lnSpc>
                  <a:spcPct val="100000"/>
                </a:lnSpc>
                <a:spcBef>
                  <a:spcPct val="0"/>
                </a:spcBef>
                <a:spcAft>
                  <a:spcPct val="0"/>
                </a:spcAft>
              </a:pPr>
              <a:t>4</a:t>
            </a:fld>
            <a:r>
              <a:rPr altLang="en-US" sz="1000" dirty="0">
                <a:solidFill>
                  <a:prstClr val="black"/>
                </a:solidFill>
                <a:sym typeface="+mn-lt"/>
              </a:rPr>
              <a:t>, Good</a:t>
            </a:r>
            <a:endParaRPr sz="1000" dirty="0">
              <a:solidFill>
                <a:prstClr val="black"/>
              </a:solidFill>
              <a:sym typeface="+mn-lt"/>
            </a:endParaRPr>
          </a:p>
        </p:txBody>
      </p:sp>
      <p:sp>
        <p:nvSpPr>
          <p:cNvPr id="93" name="Text Placeholder 2"/>
          <p:cNvSpPr>
            <a:spLocks noGrp="1"/>
          </p:cNvSpPr>
          <p:nvPr>
            <p:custDataLst>
              <p:tags r:id="rId14"/>
            </p:custDataLst>
          </p:nvPr>
        </p:nvSpPr>
        <p:spPr bwMode="gray">
          <a:xfrm>
            <a:off x="6859588" y="2286000"/>
            <a:ext cx="4111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lnSpc>
                <a:spcPct val="100000"/>
              </a:lnSpc>
              <a:spcBef>
                <a:spcPct val="0"/>
              </a:spcBef>
              <a:spcAft>
                <a:spcPct val="0"/>
              </a:spcAft>
            </a:pPr>
            <a:fld id="{8EE83B35-E40D-4C0D-B1E3-1BA661A26B6D}" type="datetime'''5'''''''''''''">
              <a:rPr altLang="en-US" sz="1000" b="1">
                <a:solidFill>
                  <a:prstClr val="black"/>
                </a:solidFill>
                <a:sym typeface="+mn-lt"/>
              </a:rPr>
              <a:pPr algn="r">
                <a:lnSpc>
                  <a:spcPct val="100000"/>
                </a:lnSpc>
                <a:spcBef>
                  <a:spcPct val="0"/>
                </a:spcBef>
                <a:spcAft>
                  <a:spcPct val="0"/>
                </a:spcAft>
              </a:pPr>
              <a:t>5</a:t>
            </a:fld>
            <a:r>
              <a:rPr altLang="en-US" sz="1000">
                <a:solidFill>
                  <a:prstClr val="black"/>
                </a:solidFill>
                <a:sym typeface="+mn-lt"/>
              </a:rPr>
              <a:t>, New</a:t>
            </a:r>
            <a:endParaRPr sz="1000">
              <a:solidFill>
                <a:prstClr val="black"/>
              </a:solidFill>
              <a:sym typeface="+mn-lt"/>
            </a:endParaRPr>
          </a:p>
        </p:txBody>
      </p:sp>
      <p:sp useBgFill="1">
        <p:nvSpPr>
          <p:cNvPr id="71" name="Text Placeholder 2"/>
          <p:cNvSpPr>
            <a:spLocks noGrp="1"/>
          </p:cNvSpPr>
          <p:nvPr>
            <p:custDataLst>
              <p:tags r:id="rId15"/>
            </p:custDataLst>
          </p:nvPr>
        </p:nvSpPr>
        <p:spPr bwMode="gray">
          <a:xfrm>
            <a:off x="11580813" y="2716213"/>
            <a:ext cx="176213" cy="122238"/>
          </a:xfrm>
          <a:prstGeom prst="rect">
            <a:avLst/>
          </a:prstGeom>
        </p:spPr>
        <p:txBody>
          <a:bodyPr vert="horz" wrap="none" lIns="14288" tIns="0" rIns="14288" bIns="0" numCol="1" spcCol="0" rtlCol="0" anchor="b"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A29C5FA1-94B6-4E5F-AF75-78985D3159F0}" type="datetime'''3''''''''''''''.''''''5'''''''''''''''''''''''''''''''''''">
              <a:rPr altLang="en-US" sz="800">
                <a:solidFill>
                  <a:prstClr val="black"/>
                </a:solidFill>
                <a:sym typeface="+mn-lt"/>
              </a:rPr>
              <a:pPr algn="ctr">
                <a:lnSpc>
                  <a:spcPct val="100000"/>
                </a:lnSpc>
                <a:spcBef>
                  <a:spcPct val="0"/>
                </a:spcBef>
                <a:spcAft>
                  <a:spcPct val="0"/>
                </a:spcAft>
              </a:pPr>
              <a:t>3.5</a:t>
            </a:fld>
            <a:endParaRPr sz="800">
              <a:solidFill>
                <a:prstClr val="black"/>
              </a:solidFill>
              <a:sym typeface="+mn-lt"/>
            </a:endParaRPr>
          </a:p>
        </p:txBody>
      </p:sp>
      <p:sp>
        <p:nvSpPr>
          <p:cNvPr id="40" name="Text Placeholder 2"/>
          <p:cNvSpPr>
            <a:spLocks noGrp="1"/>
          </p:cNvSpPr>
          <p:nvPr>
            <p:custDataLst>
              <p:tags r:id="rId16"/>
            </p:custDataLst>
          </p:nvPr>
        </p:nvSpPr>
        <p:spPr bwMode="auto">
          <a:xfrm>
            <a:off x="9969500" y="4289425"/>
            <a:ext cx="7112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6F21103A-A432-41D3-83AB-DC1C4488ECF3}" type="datetime'''''''''''''1''8 ''''M''o''''''''''''n''''t''''h''s'''">
              <a:rPr altLang="en-US" sz="1200">
                <a:solidFill>
                  <a:prstClr val="black"/>
                </a:solidFill>
                <a:latin typeface="3M Circular TT Light" panose="020B0404020101020102" pitchFamily="34" charset="0"/>
                <a:cs typeface="3M Circular TT Light" panose="020B0404020101020102" pitchFamily="34" charset="0"/>
                <a:sym typeface="3M Circular TT Light" panose="020B0404020101020102" pitchFamily="34" charset="0"/>
              </a:rPr>
              <a:pPr algn="ctr">
                <a:lnSpc>
                  <a:spcPct val="100000"/>
                </a:lnSpc>
                <a:spcBef>
                  <a:spcPct val="0"/>
                </a:spcBef>
                <a:spcAft>
                  <a:spcPct val="0"/>
                </a:spcAft>
              </a:pPr>
              <a:t>18 Months</a:t>
            </a:fld>
            <a:endParaRPr sz="1200">
              <a:solidFill>
                <a:prstClr val="black"/>
              </a:solidFill>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useBgFill="1">
        <p:nvSpPr>
          <p:cNvPr id="99" name="Text Placeholder 2"/>
          <p:cNvSpPr>
            <a:spLocks noGrp="1"/>
          </p:cNvSpPr>
          <p:nvPr>
            <p:custDataLst>
              <p:tags r:id="rId17"/>
            </p:custDataLst>
          </p:nvPr>
        </p:nvSpPr>
        <p:spPr bwMode="gray">
          <a:xfrm>
            <a:off x="10239375" y="2630488"/>
            <a:ext cx="171450" cy="122238"/>
          </a:xfrm>
          <a:prstGeom prst="rect">
            <a:avLst/>
          </a:prstGeom>
        </p:spPr>
        <p:txBody>
          <a:bodyPr vert="horz" wrap="none" lIns="14288" tIns="0" rIns="14288" bIns="0" numCol="1" spcCol="0" rtlCol="0" anchor="b"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234607E6-11D9-4A08-B777-6A2F236F1512}" type="datetime'''3''''''''''''''''''''''.''7'''''''''''''">
              <a:rPr altLang="en-US" sz="800">
                <a:solidFill>
                  <a:prstClr val="black"/>
                </a:solidFill>
                <a:sym typeface="+mn-lt"/>
              </a:rPr>
              <a:pPr algn="ctr">
                <a:lnSpc>
                  <a:spcPct val="100000"/>
                </a:lnSpc>
                <a:spcBef>
                  <a:spcPct val="0"/>
                </a:spcBef>
                <a:spcAft>
                  <a:spcPct val="0"/>
                </a:spcAft>
              </a:pPr>
              <a:t>3.7</a:t>
            </a:fld>
            <a:endParaRPr sz="800">
              <a:solidFill>
                <a:prstClr val="black"/>
              </a:solidFill>
              <a:sym typeface="+mn-lt"/>
            </a:endParaRPr>
          </a:p>
        </p:txBody>
      </p:sp>
      <p:sp useBgFill="1">
        <p:nvSpPr>
          <p:cNvPr id="61" name="Text Placeholder 2"/>
          <p:cNvSpPr>
            <a:spLocks noGrp="1"/>
          </p:cNvSpPr>
          <p:nvPr>
            <p:custDataLst>
              <p:tags r:id="rId18"/>
            </p:custDataLst>
          </p:nvPr>
        </p:nvSpPr>
        <p:spPr bwMode="gray">
          <a:xfrm>
            <a:off x="10237788" y="3001963"/>
            <a:ext cx="176213" cy="122238"/>
          </a:xfrm>
          <a:prstGeom prst="rect">
            <a:avLst/>
          </a:prstGeom>
        </p:spPr>
        <p:txBody>
          <a:bodyPr vert="horz" wrap="none" lIns="14288" tIns="0" rIns="14288"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1317C1C6-6964-4048-892D-63D11445342E}" type="datetime'''''''''''''''''''''''''3''.''5'''''''''''''''''''''''">
              <a:rPr altLang="en-US" sz="800">
                <a:solidFill>
                  <a:prstClr val="black"/>
                </a:solidFill>
                <a:sym typeface="+mn-lt"/>
              </a:rPr>
              <a:pPr algn="ctr">
                <a:lnSpc>
                  <a:spcPct val="100000"/>
                </a:lnSpc>
                <a:spcBef>
                  <a:spcPct val="0"/>
                </a:spcBef>
                <a:spcAft>
                  <a:spcPct val="0"/>
                </a:spcAft>
              </a:pPr>
              <a:t>3.5</a:t>
            </a:fld>
            <a:endParaRPr sz="800">
              <a:solidFill>
                <a:prstClr val="black"/>
              </a:solidFill>
              <a:sym typeface="+mn-lt"/>
            </a:endParaRPr>
          </a:p>
        </p:txBody>
      </p:sp>
      <p:sp>
        <p:nvSpPr>
          <p:cNvPr id="42" name="Text Placeholder 2"/>
          <p:cNvSpPr>
            <a:spLocks noGrp="1"/>
          </p:cNvSpPr>
          <p:nvPr>
            <p:custDataLst>
              <p:tags r:id="rId19"/>
            </p:custDataLst>
          </p:nvPr>
        </p:nvSpPr>
        <p:spPr bwMode="auto">
          <a:xfrm>
            <a:off x="8497888" y="4289425"/>
            <a:ext cx="7016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43E34813-2978-4BD9-9ED4-CA712DEF8B22}" type="datetime'1''2 ''''''Mo''''''''n''''''''''''th''''''''''''s'''">
              <a:rPr altLang="en-US" sz="1200">
                <a:solidFill>
                  <a:prstClr val="black"/>
                </a:solidFill>
                <a:latin typeface="3M Circular TT Light" panose="020B0404020101020102" pitchFamily="34" charset="0"/>
                <a:cs typeface="3M Circular TT Light" panose="020B0404020101020102" pitchFamily="34" charset="0"/>
                <a:sym typeface="3M Circular TT Light" panose="020B0404020101020102" pitchFamily="34" charset="0"/>
              </a:rPr>
              <a:pPr algn="ctr">
                <a:lnSpc>
                  <a:spcPct val="100000"/>
                </a:lnSpc>
                <a:spcBef>
                  <a:spcPct val="0"/>
                </a:spcBef>
                <a:spcAft>
                  <a:spcPct val="0"/>
                </a:spcAft>
              </a:pPr>
              <a:t>12 Months</a:t>
            </a:fld>
            <a:endParaRPr sz="1200">
              <a:solidFill>
                <a:prstClr val="black"/>
              </a:solidFill>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41" name="Text Placeholder 2"/>
          <p:cNvSpPr>
            <a:spLocks noGrp="1"/>
          </p:cNvSpPr>
          <p:nvPr>
            <p:custDataLst>
              <p:tags r:id="rId20"/>
            </p:custDataLst>
          </p:nvPr>
        </p:nvSpPr>
        <p:spPr bwMode="auto">
          <a:xfrm>
            <a:off x="11434763" y="4289425"/>
            <a:ext cx="7350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0792344F-1737-4091-B896-86E5CC13AB01}" type="datetime'2''''4'' ''''Mo''''''''''n''''t''''''''''h''s'''''''">
              <a:rPr altLang="en-US" sz="1200">
                <a:solidFill>
                  <a:prstClr val="black"/>
                </a:solidFill>
                <a:latin typeface="3M Circular TT Light" panose="020B0404020101020102" pitchFamily="34" charset="0"/>
                <a:cs typeface="3M Circular TT Light" panose="020B0404020101020102" pitchFamily="34" charset="0"/>
                <a:sym typeface="3M Circular TT Light" panose="020B0404020101020102" pitchFamily="34" charset="0"/>
              </a:rPr>
              <a:pPr algn="ctr">
                <a:lnSpc>
                  <a:spcPct val="100000"/>
                </a:lnSpc>
                <a:spcBef>
                  <a:spcPct val="0"/>
                </a:spcBef>
                <a:spcAft>
                  <a:spcPct val="0"/>
                </a:spcAft>
              </a:pPr>
              <a:t>24 Months</a:t>
            </a:fld>
            <a:endParaRPr sz="1200">
              <a:solidFill>
                <a:prstClr val="black"/>
              </a:solidFill>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43" name="Text Placeholder 2"/>
          <p:cNvSpPr>
            <a:spLocks noGrp="1"/>
          </p:cNvSpPr>
          <p:nvPr>
            <p:custDataLst>
              <p:tags r:id="rId21"/>
            </p:custDataLst>
          </p:nvPr>
        </p:nvSpPr>
        <p:spPr bwMode="auto">
          <a:xfrm>
            <a:off x="7043738" y="4289425"/>
            <a:ext cx="658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119E3A99-90BA-4E9E-87C0-115768142A56}" type="datetime'6'''''''''''''''' ''''M''''''''''ont''''''''''''''''''''hs'''">
              <a:rPr altLang="en-US" sz="1200">
                <a:solidFill>
                  <a:prstClr val="black"/>
                </a:solidFill>
                <a:latin typeface="3M Circular TT Light" panose="020B0404020101020102" pitchFamily="34" charset="0"/>
                <a:cs typeface="3M Circular TT Light" panose="020B0404020101020102" pitchFamily="34" charset="0"/>
                <a:sym typeface="3M Circular TT Light" panose="020B0404020101020102" pitchFamily="34" charset="0"/>
              </a:rPr>
              <a:pPr algn="ctr">
                <a:lnSpc>
                  <a:spcPct val="100000"/>
                </a:lnSpc>
                <a:spcBef>
                  <a:spcPct val="0"/>
                </a:spcBef>
                <a:spcAft>
                  <a:spcPct val="0"/>
                </a:spcAft>
              </a:pPr>
              <a:t>6 Months</a:t>
            </a:fld>
            <a:endParaRPr sz="1200">
              <a:solidFill>
                <a:prstClr val="black"/>
              </a:solidFill>
              <a:latin typeface="3M Circular TT Light" panose="020B0404020101020102" pitchFamily="34" charset="0"/>
              <a:cs typeface="3M Circular TT Light" panose="020B0404020101020102" pitchFamily="34" charset="0"/>
              <a:sym typeface="3M Circular TT Light" panose="020B0404020101020102" pitchFamily="34" charset="0"/>
            </a:endParaRPr>
          </a:p>
        </p:txBody>
      </p:sp>
      <p:sp>
        <p:nvSpPr>
          <p:cNvPr id="54" name="TextBox 53"/>
          <p:cNvSpPr txBox="1"/>
          <p:nvPr/>
        </p:nvSpPr>
        <p:spPr>
          <a:xfrm>
            <a:off x="379412" y="5616080"/>
            <a:ext cx="1862626" cy="307777"/>
          </a:xfrm>
          <a:prstGeom prst="rect">
            <a:avLst/>
          </a:prstGeom>
          <a:noFill/>
        </p:spPr>
        <p:txBody>
          <a:bodyPr wrap="square" lIns="0" tIns="0" rIns="0" bIns="0" rtlCol="0">
            <a:spAutoFit/>
          </a:bodyPr>
          <a:lstStyle/>
          <a:p>
            <a:pPr algn="ctr"/>
            <a:r>
              <a:rPr lang="en-US" sz="2000" dirty="0">
                <a:solidFill>
                  <a:prstClr val="black"/>
                </a:solidFill>
              </a:rPr>
              <a:t>Bottom Line:</a:t>
            </a:r>
          </a:p>
        </p:txBody>
      </p:sp>
      <p:sp>
        <p:nvSpPr>
          <p:cNvPr id="55" name="TextBox 54"/>
          <p:cNvSpPr txBox="1"/>
          <p:nvPr/>
        </p:nvSpPr>
        <p:spPr>
          <a:xfrm>
            <a:off x="2139705" y="5616080"/>
            <a:ext cx="9776005" cy="307777"/>
          </a:xfrm>
          <a:prstGeom prst="rect">
            <a:avLst/>
          </a:prstGeom>
          <a:noFill/>
        </p:spPr>
        <p:txBody>
          <a:bodyPr wrap="square" lIns="0" tIns="0" rIns="0" bIns="0" rtlCol="0">
            <a:spAutoFit/>
          </a:bodyPr>
          <a:lstStyle/>
          <a:p>
            <a:pPr algn="ctr"/>
            <a:r>
              <a:rPr lang="en-US" sz="2000" dirty="0">
                <a:solidFill>
                  <a:prstClr val="black"/>
                </a:solidFill>
                <a:latin typeface="3M Circular TT Light" panose="020B0404020101020102" pitchFamily="34" charset="0"/>
                <a:cs typeface="3M Circular TT Light" panose="020B0404020101020102" pitchFamily="34" charset="0"/>
              </a:rPr>
              <a:t>3M™ RPMs are engineered for long-lasting performance and to stay on the road</a:t>
            </a:r>
            <a:endParaRPr lang="en-US" sz="2000" strike="sngStrike" dirty="0">
              <a:solidFill>
                <a:prstClr val="black"/>
              </a:solidFill>
              <a:latin typeface="3M Circular TT Light" panose="020B0404020101020102" pitchFamily="34" charset="0"/>
              <a:cs typeface="3M Circular TT Light" panose="020B0404020101020102" pitchFamily="34" charset="0"/>
            </a:endParaRPr>
          </a:p>
        </p:txBody>
      </p:sp>
      <p:cxnSp>
        <p:nvCxnSpPr>
          <p:cNvPr id="16" name="Straight Connector 15"/>
          <p:cNvCxnSpPr/>
          <p:nvPr>
            <p:custDataLst>
              <p:tags r:id="rId22"/>
            </p:custDataLst>
          </p:nvPr>
        </p:nvCxnSpPr>
        <p:spPr bwMode="gray">
          <a:xfrm>
            <a:off x="10237788" y="5062538"/>
            <a:ext cx="285750" cy="0"/>
          </a:xfrm>
          <a:prstGeom prst="line">
            <a:avLst/>
          </a:prstGeom>
          <a:ln w="19050">
            <a:solidFill>
              <a:schemeClr val="hlink"/>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23"/>
            </p:custDataLst>
          </p:nvPr>
        </p:nvCxnSpPr>
        <p:spPr bwMode="gray">
          <a:xfrm>
            <a:off x="10237788" y="4829175"/>
            <a:ext cx="285750" cy="0"/>
          </a:xfrm>
          <a:prstGeom prst="line">
            <a:avLst/>
          </a:prstGeom>
          <a:ln w="19050">
            <a:solidFill>
              <a:srgbClr val="C30C3E"/>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Rectangle 14"/>
          <p:cNvSpPr/>
          <p:nvPr>
            <p:custDataLst>
              <p:tags r:id="rId24"/>
            </p:custDataLst>
          </p:nvPr>
        </p:nvSpPr>
        <p:spPr bwMode="auto">
          <a:xfrm>
            <a:off x="10342563" y="4791075"/>
            <a:ext cx="76200" cy="76200"/>
          </a:xfrm>
          <a:prstGeom prst="rect">
            <a:avLst/>
          </a:prstGeom>
          <a:solidFill>
            <a:srgbClr val="C30C3E"/>
          </a:solidFill>
          <a:ln w="9525">
            <a:solidFill>
              <a:srgbClr val="C30C3E"/>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17" name="Isosceles Triangle 16"/>
          <p:cNvSpPr/>
          <p:nvPr>
            <p:custDataLst>
              <p:tags r:id="rId25"/>
            </p:custDataLst>
          </p:nvPr>
        </p:nvSpPr>
        <p:spPr bwMode="auto">
          <a:xfrm>
            <a:off x="10342563" y="5024438"/>
            <a:ext cx="76200" cy="76200"/>
          </a:xfrm>
          <a:prstGeom prst="triangle">
            <a:avLst/>
          </a:prstGeom>
          <a:solidFill>
            <a:schemeClr val="hlink"/>
          </a:solidFill>
          <a:ln w="9525">
            <a:solidFill>
              <a:schemeClr val="hlink"/>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66" name="Text Placeholder 2"/>
          <p:cNvSpPr>
            <a:spLocks noGrp="1"/>
          </p:cNvSpPr>
          <p:nvPr>
            <p:custDataLst>
              <p:tags r:id="rId26"/>
            </p:custDataLst>
          </p:nvPr>
        </p:nvSpPr>
        <p:spPr bwMode="auto">
          <a:xfrm>
            <a:off x="10861675" y="4978400"/>
            <a:ext cx="3556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fld id="{EB62F39D-A131-4A18-8825-51A4C886A339}" type="datetime'''''''''''''''''B''''''''''''od''''''''''''''''''''y'">
              <a:rPr altLang="en-US" sz="1200">
                <a:solidFill>
                  <a:prstClr val="black"/>
                </a:solidFill>
                <a:sym typeface="+mn-lt"/>
              </a:rPr>
              <a:pPr algn="ctr">
                <a:lnSpc>
                  <a:spcPct val="100000"/>
                </a:lnSpc>
                <a:spcBef>
                  <a:spcPct val="0"/>
                </a:spcBef>
                <a:spcAft>
                  <a:spcPct val="0"/>
                </a:spcAft>
              </a:pPr>
              <a:t>Body</a:t>
            </a:fld>
            <a:endParaRPr sz="1200">
              <a:solidFill>
                <a:prstClr val="black"/>
              </a:solidFill>
              <a:sym typeface="+mn-lt"/>
            </a:endParaRPr>
          </a:p>
        </p:txBody>
      </p:sp>
      <p:sp>
        <p:nvSpPr>
          <p:cNvPr id="67" name="Text Placeholder 2"/>
          <p:cNvSpPr>
            <a:spLocks noGrp="1"/>
          </p:cNvSpPr>
          <p:nvPr>
            <p:custDataLst>
              <p:tags r:id="rId27"/>
            </p:custDataLst>
          </p:nvPr>
        </p:nvSpPr>
        <p:spPr bwMode="auto">
          <a:xfrm>
            <a:off x="10574338" y="4745038"/>
            <a:ext cx="9318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en-US" sz="2000" kern="1200" dirty="0" smtClean="0">
                <a:solidFill>
                  <a:schemeClr val="tx1"/>
                </a:solidFill>
                <a:latin typeface="+mn-lt"/>
                <a:ea typeface="+mj-ea"/>
                <a:cs typeface="+mj-cs"/>
              </a:defRPr>
            </a:lvl1pPr>
            <a:lvl2pPr marL="182563" indent="-182563" algn="l" defTabSz="914400" rtl="0" eaLnBrk="1" latinLnBrk="0" hangingPunct="1">
              <a:lnSpc>
                <a:spcPct val="110000"/>
              </a:lnSpc>
              <a:spcBef>
                <a:spcPts val="0"/>
              </a:spcBef>
              <a:spcAft>
                <a:spcPts val="600"/>
              </a:spcAft>
              <a:buFont typeface="Arial" panose="020B0604020202020204" pitchFamily="34" charset="0"/>
              <a:buChar char="•"/>
              <a:defRPr lang="en-US" sz="2000" kern="1200" dirty="0" smtClean="0">
                <a:solidFill>
                  <a:schemeClr val="tx1"/>
                </a:solidFill>
                <a:latin typeface="+mn-lt"/>
                <a:ea typeface="+mn-ea"/>
                <a:cs typeface="+mn-cs"/>
              </a:defRPr>
            </a:lvl2pPr>
            <a:lvl3pPr marL="357188" indent="-174625" algn="l" defTabSz="914400" rtl="0" eaLnBrk="1" latinLnBrk="0" hangingPunct="1">
              <a:lnSpc>
                <a:spcPct val="110000"/>
              </a:lnSpc>
              <a:spcBef>
                <a:spcPts val="0"/>
              </a:spcBef>
              <a:spcAft>
                <a:spcPts val="600"/>
              </a:spcAft>
              <a:buFont typeface="Arial" panose="020B0604020202020204" pitchFamily="34" charset="0"/>
              <a:buChar char="•"/>
              <a:defRPr lang="en-US" sz="1600" kern="1200" dirty="0" smtClean="0">
                <a:solidFill>
                  <a:schemeClr val="tx1"/>
                </a:solidFill>
                <a:latin typeface="+mn-lt"/>
                <a:ea typeface="+mn-ea"/>
                <a:cs typeface="+mn-cs"/>
              </a:defRPr>
            </a:lvl3pPr>
            <a:lvl4pPr marL="539750" indent="-182563"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mn-lt"/>
                <a:ea typeface="+mn-ea"/>
                <a:cs typeface="+mn-cs"/>
              </a:defRPr>
            </a:lvl4pPr>
            <a:lvl5pPr marL="714375" indent="-174625" algn="l" defTabSz="914400" rtl="0" eaLnBrk="1" latinLnBrk="0" hangingPunct="1">
              <a:lnSpc>
                <a:spcPct val="110000"/>
              </a:lnSpc>
              <a:spcBef>
                <a:spcPts val="0"/>
              </a:spcBef>
              <a:spcAft>
                <a:spcPts val="600"/>
              </a:spcAft>
              <a:buFont typeface="Arial" panose="020B0604020202020204" pitchFamily="34" charset="0"/>
              <a:buChar char="•"/>
              <a:defRPr lang="en-GB" sz="12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ct val="0"/>
              </a:spcBef>
              <a:spcAft>
                <a:spcPct val="0"/>
              </a:spcAft>
            </a:pPr>
            <a:r>
              <a:rPr altLang="en-US" sz="1200">
                <a:solidFill>
                  <a:prstClr val="black"/>
                </a:solidFill>
                <a:sym typeface="+mn-lt"/>
              </a:rPr>
              <a:t>Lens Surface </a:t>
            </a:r>
            <a:endParaRPr sz="1200">
              <a:solidFill>
                <a:prstClr val="black"/>
              </a:solidFill>
              <a:sym typeface="+mn-lt"/>
            </a:endParaRPr>
          </a:p>
        </p:txBody>
      </p:sp>
      <p:sp>
        <p:nvSpPr>
          <p:cNvPr id="68" name="TextBox 67"/>
          <p:cNvSpPr txBox="1"/>
          <p:nvPr/>
        </p:nvSpPr>
        <p:spPr>
          <a:xfrm>
            <a:off x="6365876" y="1992563"/>
            <a:ext cx="5602672" cy="184666"/>
          </a:xfrm>
          <a:prstGeom prst="rect">
            <a:avLst/>
          </a:prstGeom>
          <a:noFill/>
        </p:spPr>
        <p:txBody>
          <a:bodyPr wrap="square" lIns="0" tIns="0" rIns="0" bIns="0" rtlCol="0">
            <a:spAutoFit/>
          </a:bodyPr>
          <a:lstStyle/>
          <a:p>
            <a:pPr algn="ctr"/>
            <a:r>
              <a:rPr lang="en-US" sz="1200" dirty="0">
                <a:solidFill>
                  <a:prstClr val="black"/>
                </a:solidFill>
              </a:rPr>
              <a:t>Average 3M</a:t>
            </a:r>
            <a:r>
              <a:rPr lang="en-US" sz="1200" dirty="0">
                <a:solidFill>
                  <a:prstClr val="black"/>
                </a:solidFill>
                <a:latin typeface="3M Circular TT Bold" panose="020B0804020101010102" pitchFamily="34" charset="0"/>
                <a:cs typeface="3M Circular TT Bold" panose="020B0804020101010102" pitchFamily="34" charset="0"/>
              </a:rPr>
              <a:t>™</a:t>
            </a:r>
            <a:r>
              <a:rPr lang="en-US" sz="1200" dirty="0">
                <a:solidFill>
                  <a:prstClr val="black"/>
                </a:solidFill>
              </a:rPr>
              <a:t> RPM 290 Lens Surface and Body Rating After 2 years</a:t>
            </a:r>
          </a:p>
        </p:txBody>
      </p:sp>
      <p:sp>
        <p:nvSpPr>
          <p:cNvPr id="75" name="TextBox 74"/>
          <p:cNvSpPr txBox="1"/>
          <p:nvPr/>
        </p:nvSpPr>
        <p:spPr>
          <a:xfrm>
            <a:off x="6903349" y="4592638"/>
            <a:ext cx="3353489" cy="738664"/>
          </a:xfrm>
          <a:prstGeom prst="rect">
            <a:avLst/>
          </a:prstGeom>
          <a:noFill/>
        </p:spPr>
        <p:txBody>
          <a:bodyPr wrap="square" lIns="0" tIns="0" rIns="0" bIns="0" rtlCol="0">
            <a:spAutoFit/>
          </a:bodyPr>
          <a:lstStyle/>
          <a:p>
            <a:r>
              <a:rPr lang="en-US" sz="1200" dirty="0">
                <a:solidFill>
                  <a:prstClr val="black"/>
                </a:solidFill>
                <a:cs typeface="3M Circular TT Book" panose="020B0604020101020102" pitchFamily="34" charset="0"/>
              </a:rPr>
              <a:t>Location</a:t>
            </a:r>
            <a:r>
              <a:rPr lang="en-US" sz="1200" dirty="0">
                <a:solidFill>
                  <a:prstClr val="black"/>
                </a:solidFill>
                <a:latin typeface="3M Circular TT Light" panose="020B0404020101020102" pitchFamily="34" charset="0"/>
                <a:cs typeface="3M Circular TT Light" panose="020B0404020101020102" pitchFamily="34" charset="0"/>
              </a:rPr>
              <a:t>: I-75 near Florida/Georgia Border</a:t>
            </a:r>
          </a:p>
          <a:p>
            <a:r>
              <a:rPr lang="en-US" sz="1200" dirty="0">
                <a:solidFill>
                  <a:prstClr val="black"/>
                </a:solidFill>
                <a:cs typeface="3M Circular TT Book" panose="020B0604020101020102" pitchFamily="34" charset="0"/>
              </a:rPr>
              <a:t>AADT</a:t>
            </a:r>
            <a:r>
              <a:rPr lang="en-US" sz="1200" dirty="0">
                <a:solidFill>
                  <a:prstClr val="black"/>
                </a:solidFill>
                <a:latin typeface="3M Circular TT Light" panose="020B0404020101020102" pitchFamily="34" charset="0"/>
                <a:cs typeface="3M Circular TT Light" panose="020B0404020101020102" pitchFamily="34" charset="0"/>
              </a:rPr>
              <a:t>: High, 39,000-41,000</a:t>
            </a:r>
          </a:p>
          <a:p>
            <a:r>
              <a:rPr lang="en-US" sz="1200" dirty="0">
                <a:solidFill>
                  <a:prstClr val="black"/>
                </a:solidFill>
                <a:cs typeface="3M Circular TT Book" panose="020B0604020101020102" pitchFamily="34" charset="0"/>
              </a:rPr>
              <a:t>Truck Traffic</a:t>
            </a:r>
            <a:r>
              <a:rPr lang="en-US" sz="1200" dirty="0">
                <a:solidFill>
                  <a:prstClr val="black"/>
                </a:solidFill>
                <a:latin typeface="3M Circular TT Light" panose="020B0404020101020102" pitchFamily="34" charset="0"/>
                <a:cs typeface="3M Circular TT Light" panose="020B0404020101020102" pitchFamily="34" charset="0"/>
              </a:rPr>
              <a:t>: High, 24-26%</a:t>
            </a:r>
          </a:p>
          <a:p>
            <a:r>
              <a:rPr lang="en-US" sz="1200" dirty="0">
                <a:solidFill>
                  <a:prstClr val="black"/>
                </a:solidFill>
                <a:cs typeface="3M Circular TT Book" panose="020B0604020101020102" pitchFamily="34" charset="0"/>
              </a:rPr>
              <a:t>Surface</a:t>
            </a:r>
            <a:r>
              <a:rPr lang="en-US" sz="1200" dirty="0">
                <a:solidFill>
                  <a:prstClr val="black"/>
                </a:solidFill>
                <a:latin typeface="3M Circular TT Light" panose="020B0404020101020102" pitchFamily="34" charset="0"/>
                <a:cs typeface="3M Circular TT Light" panose="020B0404020101020102" pitchFamily="34" charset="0"/>
              </a:rPr>
              <a:t>: Concrete</a:t>
            </a:r>
          </a:p>
        </p:txBody>
      </p:sp>
      <p:sp>
        <p:nvSpPr>
          <p:cNvPr id="83" name="TextBox 82"/>
          <p:cNvSpPr txBox="1"/>
          <p:nvPr/>
        </p:nvSpPr>
        <p:spPr>
          <a:xfrm>
            <a:off x="6521450" y="6218689"/>
            <a:ext cx="4854022" cy="484748"/>
          </a:xfrm>
          <a:prstGeom prst="rect">
            <a:avLst/>
          </a:prstGeom>
          <a:noFill/>
        </p:spPr>
        <p:txBody>
          <a:bodyPr wrap="square" lIns="0" tIns="0" rIns="0" bIns="0" rtlCol="0">
            <a:spAutoFit/>
          </a:bodyPr>
          <a:lstStyle/>
          <a:p>
            <a:r>
              <a:rPr lang="en-US" sz="1050" dirty="0">
                <a:solidFill>
                  <a:prstClr val="black"/>
                </a:solidFill>
              </a:rPr>
              <a:t>Note: </a:t>
            </a:r>
            <a:r>
              <a:rPr lang="en-US" sz="1050" dirty="0">
                <a:solidFill>
                  <a:prstClr val="black"/>
                </a:solidFill>
                <a:latin typeface="3M Circular TT Light" panose="020B0404020101020102" pitchFamily="34" charset="0"/>
                <a:cs typeface="3M Circular TT Light" panose="020B0404020101020102" pitchFamily="34" charset="0"/>
              </a:rPr>
              <a:t>The preceding test data excerpts were reproduced with the permission of AASHTO, however, this does not constitute endorsement or approval of the product, material or device by AASHTO</a:t>
            </a:r>
            <a:endParaRPr lang="en-US" sz="1050" dirty="0">
              <a:solidFill>
                <a:prstClr val="black"/>
              </a:solidFill>
            </a:endParaRPr>
          </a:p>
        </p:txBody>
      </p:sp>
      <p:sp>
        <p:nvSpPr>
          <p:cNvPr id="106" name="Rectangle 105"/>
          <p:cNvSpPr/>
          <p:nvPr/>
        </p:nvSpPr>
        <p:spPr>
          <a:xfrm>
            <a:off x="379412" y="5451740"/>
            <a:ext cx="11589136" cy="629953"/>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 name="Rectangle 1"/>
          <p:cNvSpPr/>
          <p:nvPr/>
        </p:nvSpPr>
        <p:spPr>
          <a:xfrm>
            <a:off x="292133" y="6144952"/>
            <a:ext cx="1693092" cy="261610"/>
          </a:xfrm>
          <a:prstGeom prst="rect">
            <a:avLst/>
          </a:prstGeom>
        </p:spPr>
        <p:txBody>
          <a:bodyPr wrap="none">
            <a:spAutoFit/>
          </a:bodyPr>
          <a:lstStyle/>
          <a:p>
            <a:r>
              <a:rPr lang="en-US" sz="1100" dirty="0">
                <a:solidFill>
                  <a:prstClr val="black"/>
                </a:solidFill>
              </a:rPr>
              <a:t>https://data.ntpep.org/</a:t>
            </a:r>
          </a:p>
        </p:txBody>
      </p:sp>
    </p:spTree>
    <p:extLst>
      <p:ext uri="{BB962C8B-B14F-4D97-AF65-F5344CB8AC3E}">
        <p14:creationId xmlns:p14="http://schemas.microsoft.com/office/powerpoint/2010/main" val="3502036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8" presetClass="entr" presetSubtype="12" fill="hold" grpId="0" nodeType="after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strips(downLeft)">
                                      <p:cBhvr>
                                        <p:cTn id="7" dur="500"/>
                                        <p:tgtEl>
                                          <p:spTgt spid="21"/>
                                        </p:tgtEl>
                                      </p:cBhvr>
                                    </p:animEffect>
                                  </p:childTnLst>
                                </p:cTn>
                              </p:par>
                            </p:childTnLst>
                          </p:cTn>
                        </p:par>
                        <p:par>
                          <p:cTn id="8" fill="hold">
                            <p:stCondLst>
                              <p:cond delay="500"/>
                            </p:stCondLst>
                            <p:childTnLst>
                              <p:par>
                                <p:cTn id="9" presetID="18" presetClass="entr" presetSubtype="12"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strips(downLeft)">
                                      <p:cBhvr>
                                        <p:cTn id="11" dur="500"/>
                                        <p:tgtEl>
                                          <p:spTgt spid="23"/>
                                        </p:tgtEl>
                                      </p:cBhvr>
                                    </p:animEffect>
                                  </p:childTnLst>
                                </p:cTn>
                              </p:par>
                            </p:childTnLst>
                          </p:cTn>
                        </p:par>
                        <p:par>
                          <p:cTn id="12" fill="hold">
                            <p:stCondLst>
                              <p:cond delay="1000"/>
                            </p:stCondLst>
                            <p:childTnLst>
                              <p:par>
                                <p:cTn id="13" presetID="18" presetClass="entr" presetSubtype="12" fill="hold" grpId="0" nodeType="after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strips(downLeft)">
                                      <p:cBhvr>
                                        <p:cTn id="15"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3" grpId="0"/>
      <p:bldP spid="24"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79412" y="1465389"/>
            <a:ext cx="5347403" cy="529397"/>
          </a:xfrm>
          <a:prstGeom prst="rect">
            <a:avLst/>
          </a:prstGeom>
          <a:solidFill>
            <a:schemeClr val="bg1"/>
          </a:solid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rPr>
              <a:t>RPM without a Spike</a:t>
            </a:r>
          </a:p>
        </p:txBody>
      </p:sp>
      <p:sp>
        <p:nvSpPr>
          <p:cNvPr id="7" name="Rectangle 6"/>
          <p:cNvSpPr/>
          <p:nvPr/>
        </p:nvSpPr>
        <p:spPr>
          <a:xfrm>
            <a:off x="6457246" y="1475886"/>
            <a:ext cx="5347403" cy="529397"/>
          </a:xfrm>
          <a:prstGeom prst="rect">
            <a:avLst/>
          </a:prstGeom>
          <a:solidFill>
            <a:schemeClr val="bg1"/>
          </a:solid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schemeClr val="tx1"/>
                </a:solidFill>
              </a:rPr>
              <a:t>RPM with Spike(s)</a:t>
            </a:r>
          </a:p>
        </p:txBody>
      </p:sp>
      <p:pic>
        <p:nvPicPr>
          <p:cNvPr id="8" name="Picture 7"/>
          <p:cNvPicPr>
            <a:picLocks noChangeAspect="1"/>
          </p:cNvPicPr>
          <p:nvPr/>
        </p:nvPicPr>
        <p:blipFill>
          <a:blip r:embed="rId2"/>
          <a:stretch>
            <a:fillRect/>
          </a:stretch>
        </p:blipFill>
        <p:spPr>
          <a:xfrm>
            <a:off x="7141004" y="2100190"/>
            <a:ext cx="1187749" cy="886981"/>
          </a:xfrm>
          <a:prstGeom prst="rect">
            <a:avLst/>
          </a:prstGeom>
        </p:spPr>
      </p:pic>
      <p:pic>
        <p:nvPicPr>
          <p:cNvPr id="9" name="Picture 8"/>
          <p:cNvPicPr>
            <a:picLocks noChangeAspect="1"/>
          </p:cNvPicPr>
          <p:nvPr/>
        </p:nvPicPr>
        <p:blipFill>
          <a:blip r:embed="rId3"/>
          <a:stretch>
            <a:fillRect/>
          </a:stretch>
        </p:blipFill>
        <p:spPr>
          <a:xfrm>
            <a:off x="7141721" y="3331217"/>
            <a:ext cx="1187187" cy="886981"/>
          </a:xfrm>
          <a:prstGeom prst="rect">
            <a:avLst/>
          </a:prstGeom>
        </p:spPr>
      </p:pic>
      <p:pic>
        <p:nvPicPr>
          <p:cNvPr id="10" name="Picture 9"/>
          <p:cNvPicPr>
            <a:picLocks noChangeAspect="1"/>
          </p:cNvPicPr>
          <p:nvPr/>
        </p:nvPicPr>
        <p:blipFill>
          <a:blip r:embed="rId4"/>
          <a:stretch>
            <a:fillRect/>
          </a:stretch>
        </p:blipFill>
        <p:spPr>
          <a:xfrm>
            <a:off x="7141003" y="4562244"/>
            <a:ext cx="1187749" cy="886981"/>
          </a:xfrm>
          <a:prstGeom prst="rect">
            <a:avLst/>
          </a:prstGeom>
        </p:spPr>
      </p:pic>
      <p:sp>
        <p:nvSpPr>
          <p:cNvPr id="11" name="TextBox 10"/>
          <p:cNvSpPr txBox="1"/>
          <p:nvPr/>
        </p:nvSpPr>
        <p:spPr>
          <a:xfrm>
            <a:off x="6457246" y="2373512"/>
            <a:ext cx="576942" cy="307777"/>
          </a:xfrm>
          <a:prstGeom prst="rect">
            <a:avLst/>
          </a:prstGeom>
          <a:noFill/>
        </p:spPr>
        <p:txBody>
          <a:bodyPr wrap="square" lIns="0" tIns="0" rIns="0" bIns="0" rtlCol="0">
            <a:spAutoFit/>
          </a:bodyPr>
          <a:lstStyle/>
          <a:p>
            <a:pPr algn="ctr"/>
            <a:r>
              <a:rPr lang="en-US" sz="2000" dirty="0"/>
              <a:t>1</a:t>
            </a:r>
          </a:p>
        </p:txBody>
      </p:sp>
      <p:sp>
        <p:nvSpPr>
          <p:cNvPr id="12" name="TextBox 11"/>
          <p:cNvSpPr txBox="1"/>
          <p:nvPr/>
        </p:nvSpPr>
        <p:spPr>
          <a:xfrm>
            <a:off x="6457246" y="3632885"/>
            <a:ext cx="576942" cy="307777"/>
          </a:xfrm>
          <a:prstGeom prst="rect">
            <a:avLst/>
          </a:prstGeom>
          <a:noFill/>
        </p:spPr>
        <p:txBody>
          <a:bodyPr wrap="square" lIns="0" tIns="0" rIns="0" bIns="0" rtlCol="0">
            <a:spAutoFit/>
          </a:bodyPr>
          <a:lstStyle/>
          <a:p>
            <a:pPr algn="ctr"/>
            <a:r>
              <a:rPr lang="en-US" sz="2000" dirty="0"/>
              <a:t>2</a:t>
            </a:r>
          </a:p>
        </p:txBody>
      </p:sp>
      <p:sp>
        <p:nvSpPr>
          <p:cNvPr id="13" name="TextBox 12"/>
          <p:cNvSpPr txBox="1"/>
          <p:nvPr/>
        </p:nvSpPr>
        <p:spPr>
          <a:xfrm>
            <a:off x="6457246" y="4821067"/>
            <a:ext cx="576942" cy="307777"/>
          </a:xfrm>
          <a:prstGeom prst="rect">
            <a:avLst/>
          </a:prstGeom>
          <a:noFill/>
        </p:spPr>
        <p:txBody>
          <a:bodyPr wrap="square" lIns="0" tIns="0" rIns="0" bIns="0" rtlCol="0">
            <a:spAutoFit/>
          </a:bodyPr>
          <a:lstStyle/>
          <a:p>
            <a:pPr algn="ctr"/>
            <a:r>
              <a:rPr lang="en-US" sz="2000" dirty="0"/>
              <a:t>3</a:t>
            </a:r>
          </a:p>
        </p:txBody>
      </p:sp>
      <p:sp>
        <p:nvSpPr>
          <p:cNvPr id="14" name="TextBox 13"/>
          <p:cNvSpPr txBox="1"/>
          <p:nvPr/>
        </p:nvSpPr>
        <p:spPr>
          <a:xfrm>
            <a:off x="8657678" y="2420901"/>
            <a:ext cx="2743200" cy="246221"/>
          </a:xfrm>
          <a:prstGeom prst="rect">
            <a:avLst/>
          </a:prstGeom>
          <a:noFill/>
        </p:spPr>
        <p:txBody>
          <a:bodyPr wrap="square" lIns="0" tIns="0" rIns="0" bIns="0" rtlCol="0">
            <a:spAutoFit/>
          </a:bodyPr>
          <a:lstStyle/>
          <a:p>
            <a:r>
              <a:rPr lang="en-US" sz="1600" dirty="0">
                <a:latin typeface="3M Circular TT Light" panose="020B0404020101020102" pitchFamily="34" charset="0"/>
                <a:cs typeface="3M Circular TT Light" panose="020B0404020101020102" pitchFamily="34" charset="0"/>
              </a:rPr>
              <a:t>Drill hole into road surface</a:t>
            </a:r>
          </a:p>
        </p:txBody>
      </p:sp>
      <p:sp>
        <p:nvSpPr>
          <p:cNvPr id="15" name="TextBox 14"/>
          <p:cNvSpPr txBox="1"/>
          <p:nvPr/>
        </p:nvSpPr>
        <p:spPr>
          <a:xfrm>
            <a:off x="8657678" y="3707535"/>
            <a:ext cx="2743200" cy="246221"/>
          </a:xfrm>
          <a:prstGeom prst="rect">
            <a:avLst/>
          </a:prstGeom>
          <a:noFill/>
        </p:spPr>
        <p:txBody>
          <a:bodyPr wrap="square" lIns="0" tIns="0" rIns="0" bIns="0" rtlCol="0">
            <a:spAutoFit/>
          </a:bodyPr>
          <a:lstStyle/>
          <a:p>
            <a:r>
              <a:rPr lang="en-US" sz="1600" dirty="0">
                <a:latin typeface="3M Circular TT Light" panose="020B0404020101020102" pitchFamily="34" charset="0"/>
                <a:cs typeface="3M Circular TT Light" panose="020B0404020101020102" pitchFamily="34" charset="0"/>
              </a:rPr>
              <a:t>Apply recommended adhesive</a:t>
            </a:r>
          </a:p>
        </p:txBody>
      </p:sp>
      <p:sp>
        <p:nvSpPr>
          <p:cNvPr id="16" name="TextBox 15"/>
          <p:cNvSpPr txBox="1"/>
          <p:nvPr/>
        </p:nvSpPr>
        <p:spPr>
          <a:xfrm>
            <a:off x="8657677" y="4845715"/>
            <a:ext cx="3064269" cy="246221"/>
          </a:xfrm>
          <a:prstGeom prst="rect">
            <a:avLst/>
          </a:prstGeom>
          <a:noFill/>
        </p:spPr>
        <p:txBody>
          <a:bodyPr wrap="square" lIns="0" tIns="0" rIns="0" bIns="0" rtlCol="0">
            <a:spAutoFit/>
          </a:bodyPr>
          <a:lstStyle/>
          <a:p>
            <a:r>
              <a:rPr lang="en-US" sz="1600" dirty="0">
                <a:latin typeface="3M Circular TT Light" panose="020B0404020101020102" pitchFamily="34" charset="0"/>
                <a:cs typeface="3M Circular TT Light" panose="020B0404020101020102" pitchFamily="34" charset="0"/>
              </a:rPr>
              <a:t>Insert and secure RPM and done!</a:t>
            </a:r>
          </a:p>
        </p:txBody>
      </p:sp>
      <p:sp>
        <p:nvSpPr>
          <p:cNvPr id="17" name="TextBox 16"/>
          <p:cNvSpPr txBox="1"/>
          <p:nvPr/>
        </p:nvSpPr>
        <p:spPr>
          <a:xfrm>
            <a:off x="6457246" y="6597214"/>
            <a:ext cx="5120820" cy="184666"/>
          </a:xfrm>
          <a:prstGeom prst="rect">
            <a:avLst/>
          </a:prstGeom>
          <a:noFill/>
        </p:spPr>
        <p:txBody>
          <a:bodyPr wrap="square" lIns="0" tIns="0" rIns="0" bIns="0" rtlCol="0">
            <a:spAutoFit/>
          </a:bodyPr>
          <a:lstStyle/>
          <a:p>
            <a:r>
              <a:rPr lang="en-US" sz="1200" b="1" dirty="0"/>
              <a:t>Note: </a:t>
            </a:r>
            <a:r>
              <a:rPr lang="en-US" sz="1200" dirty="0"/>
              <a:t>See Information Folder 290 for Detailed Application Guidelines</a:t>
            </a:r>
          </a:p>
        </p:txBody>
      </p:sp>
      <p:sp>
        <p:nvSpPr>
          <p:cNvPr id="19" name="TextBox 18"/>
          <p:cNvSpPr txBox="1"/>
          <p:nvPr/>
        </p:nvSpPr>
        <p:spPr>
          <a:xfrm>
            <a:off x="379412" y="5835571"/>
            <a:ext cx="1862626" cy="307777"/>
          </a:xfrm>
          <a:prstGeom prst="rect">
            <a:avLst/>
          </a:prstGeom>
          <a:noFill/>
        </p:spPr>
        <p:txBody>
          <a:bodyPr wrap="square" lIns="0" tIns="0" rIns="0" bIns="0" rtlCol="0">
            <a:spAutoFit/>
          </a:bodyPr>
          <a:lstStyle/>
          <a:p>
            <a:pPr algn="ctr"/>
            <a:r>
              <a:rPr lang="en-US" sz="2000" dirty="0">
                <a:solidFill>
                  <a:prstClr val="black"/>
                </a:solidFill>
              </a:rPr>
              <a:t>Bottom Line:</a:t>
            </a:r>
          </a:p>
        </p:txBody>
      </p:sp>
      <p:sp>
        <p:nvSpPr>
          <p:cNvPr id="20" name="TextBox 19"/>
          <p:cNvSpPr txBox="1"/>
          <p:nvPr/>
        </p:nvSpPr>
        <p:spPr>
          <a:xfrm>
            <a:off x="2139705" y="5835571"/>
            <a:ext cx="9776005" cy="307777"/>
          </a:xfrm>
          <a:prstGeom prst="rect">
            <a:avLst/>
          </a:prstGeom>
          <a:noFill/>
        </p:spPr>
        <p:txBody>
          <a:bodyPr wrap="square" lIns="0" tIns="0" rIns="0" bIns="0" rtlCol="0">
            <a:spAutoFit/>
          </a:bodyPr>
          <a:lstStyle/>
          <a:p>
            <a:r>
              <a:rPr lang="en-US" sz="2000" dirty="0">
                <a:solidFill>
                  <a:prstClr val="black"/>
                </a:solidFill>
                <a:latin typeface="3M Circular TT Light" panose="020B0404020101020102" pitchFamily="34" charset="0"/>
                <a:cs typeface="3M Circular TT Light" panose="020B0404020101020102" pitchFamily="34" charset="0"/>
              </a:rPr>
              <a:t>Easy application results in less road </a:t>
            </a:r>
            <a:r>
              <a:rPr lang="en-US" sz="2000" dirty="0" smtClean="0">
                <a:solidFill>
                  <a:prstClr val="black"/>
                </a:solidFill>
                <a:latin typeface="3M Circular TT Light" panose="020B0404020101020102" pitchFamily="34" charset="0"/>
                <a:cs typeface="3M Circular TT Light" panose="020B0404020101020102" pitchFamily="34" charset="0"/>
              </a:rPr>
              <a:t>closure </a:t>
            </a:r>
            <a:r>
              <a:rPr lang="en-US" sz="2000" dirty="0">
                <a:latin typeface="3M Circular TT Light" panose="020B0404020101020102" pitchFamily="34" charset="0"/>
                <a:cs typeface="3M Circular TT Light" panose="020B0404020101020102" pitchFamily="34" charset="0"/>
              </a:rPr>
              <a:t>time</a:t>
            </a:r>
            <a:r>
              <a:rPr lang="en-US" sz="2000" dirty="0">
                <a:solidFill>
                  <a:srgbClr val="FF0000"/>
                </a:solidFill>
                <a:latin typeface="3M Circular TT Light" panose="020B0404020101020102" pitchFamily="34" charset="0"/>
                <a:cs typeface="3M Circular TT Light" panose="020B0404020101020102" pitchFamily="34" charset="0"/>
              </a:rPr>
              <a:t> </a:t>
            </a:r>
            <a:r>
              <a:rPr lang="en-US" sz="2000" dirty="0">
                <a:solidFill>
                  <a:prstClr val="black"/>
                </a:solidFill>
                <a:latin typeface="3M Circular TT Light" panose="020B0404020101020102" pitchFamily="34" charset="0"/>
                <a:cs typeface="3M Circular TT Light" panose="020B0404020101020102" pitchFamily="34" charset="0"/>
              </a:rPr>
              <a:t>and contractor time efficiencies</a:t>
            </a:r>
          </a:p>
        </p:txBody>
      </p:sp>
      <p:sp>
        <p:nvSpPr>
          <p:cNvPr id="21" name="Rectangle 20"/>
          <p:cNvSpPr/>
          <p:nvPr/>
        </p:nvSpPr>
        <p:spPr>
          <a:xfrm>
            <a:off x="379412" y="5671231"/>
            <a:ext cx="11589136" cy="629953"/>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22" name="Text Placeholder 3"/>
          <p:cNvSpPr>
            <a:spLocks noGrp="1"/>
          </p:cNvSpPr>
          <p:nvPr>
            <p:ph type="body" sz="quarter" idx="10"/>
          </p:nvPr>
        </p:nvSpPr>
        <p:spPr>
          <a:xfrm>
            <a:off x="381000" y="841247"/>
            <a:ext cx="11430000" cy="567527"/>
          </a:xfrm>
        </p:spPr>
        <p:txBody>
          <a:bodyPr/>
          <a:lstStyle/>
          <a:p>
            <a:r>
              <a:rPr lang="en-US" sz="2000" dirty="0">
                <a:solidFill>
                  <a:schemeClr val="tx1">
                    <a:lumMod val="50000"/>
                    <a:lumOff val="50000"/>
                  </a:schemeClr>
                </a:solidFill>
              </a:rPr>
              <a:t>3M</a:t>
            </a:r>
            <a:r>
              <a:rPr lang="en-US" sz="2000" dirty="0">
                <a:solidFill>
                  <a:schemeClr val="tx1">
                    <a:lumMod val="50000"/>
                    <a:lumOff val="50000"/>
                  </a:schemeClr>
                </a:solidFill>
                <a:latin typeface="3M Circular TT Bold" panose="020B0804020101010102" pitchFamily="34" charset="0"/>
                <a:cs typeface="3M Circular TT Bold" panose="020B0804020101010102" pitchFamily="34" charset="0"/>
              </a:rPr>
              <a:t>™</a:t>
            </a:r>
            <a:r>
              <a:rPr lang="en-US" sz="2000" dirty="0">
                <a:solidFill>
                  <a:schemeClr val="tx1">
                    <a:lumMod val="50000"/>
                    <a:lumOff val="50000"/>
                  </a:schemeClr>
                </a:solidFill>
              </a:rPr>
              <a:t> RPM 290 is easy to apply which </a:t>
            </a:r>
            <a:r>
              <a:rPr lang="en-US" sz="2000" dirty="0">
                <a:solidFill>
                  <a:schemeClr val="bg1">
                    <a:lumMod val="50000"/>
                  </a:schemeClr>
                </a:solidFill>
              </a:rPr>
              <a:t>helps </a:t>
            </a:r>
            <a:r>
              <a:rPr lang="en-US" sz="2000" dirty="0" smtClean="0">
                <a:solidFill>
                  <a:schemeClr val="bg1">
                    <a:lumMod val="50000"/>
                  </a:schemeClr>
                </a:solidFill>
              </a:rPr>
              <a:t>reduce </a:t>
            </a:r>
            <a:r>
              <a:rPr lang="en-US" sz="2000" dirty="0">
                <a:solidFill>
                  <a:schemeClr val="bg1">
                    <a:lumMod val="50000"/>
                  </a:schemeClr>
                </a:solidFill>
              </a:rPr>
              <a:t>road </a:t>
            </a:r>
            <a:r>
              <a:rPr lang="en-US" sz="2000" dirty="0" smtClean="0">
                <a:solidFill>
                  <a:schemeClr val="bg1">
                    <a:lumMod val="50000"/>
                  </a:schemeClr>
                </a:solidFill>
              </a:rPr>
              <a:t>closure </a:t>
            </a:r>
            <a:r>
              <a:rPr lang="en-US" sz="2000" dirty="0">
                <a:solidFill>
                  <a:schemeClr val="bg1">
                    <a:lumMod val="50000"/>
                  </a:schemeClr>
                </a:solidFill>
              </a:rPr>
              <a:t>time and saves contractors time</a:t>
            </a:r>
          </a:p>
        </p:txBody>
      </p:sp>
      <p:sp>
        <p:nvSpPr>
          <p:cNvPr id="23" name="Title 1"/>
          <p:cNvSpPr>
            <a:spLocks noGrp="1"/>
          </p:cNvSpPr>
          <p:nvPr>
            <p:ph type="title"/>
          </p:nvPr>
        </p:nvSpPr>
        <p:spPr>
          <a:xfrm>
            <a:off x="379412" y="379414"/>
            <a:ext cx="11425237" cy="457200"/>
          </a:xfrm>
        </p:spPr>
        <p:txBody>
          <a:bodyPr/>
          <a:lstStyle/>
          <a:p>
            <a:r>
              <a:rPr lang="en-US" dirty="0"/>
              <a:t>3M’s Unique Selling Advantage: </a:t>
            </a:r>
            <a:r>
              <a:rPr lang="en-US" dirty="0">
                <a:solidFill>
                  <a:srgbClr val="00B0F0"/>
                </a:solidFill>
              </a:rPr>
              <a:t>Fast and Easy Application</a:t>
            </a:r>
          </a:p>
        </p:txBody>
      </p:sp>
      <p:pic>
        <p:nvPicPr>
          <p:cNvPr id="25" name="Picture 24"/>
          <p:cNvPicPr>
            <a:picLocks noChangeAspect="1"/>
          </p:cNvPicPr>
          <p:nvPr/>
        </p:nvPicPr>
        <p:blipFill>
          <a:blip r:embed="rId5"/>
          <a:stretch>
            <a:fillRect/>
          </a:stretch>
        </p:blipFill>
        <p:spPr>
          <a:xfrm>
            <a:off x="890406" y="2021499"/>
            <a:ext cx="1466850" cy="923925"/>
          </a:xfrm>
          <a:prstGeom prst="rect">
            <a:avLst/>
          </a:prstGeom>
        </p:spPr>
      </p:pic>
      <p:pic>
        <p:nvPicPr>
          <p:cNvPr id="26" name="Picture 25"/>
          <p:cNvPicPr>
            <a:picLocks noChangeAspect="1"/>
          </p:cNvPicPr>
          <p:nvPr/>
        </p:nvPicPr>
        <p:blipFill>
          <a:blip r:embed="rId6"/>
          <a:stretch>
            <a:fillRect/>
          </a:stretch>
        </p:blipFill>
        <p:spPr>
          <a:xfrm>
            <a:off x="980347" y="2926581"/>
            <a:ext cx="1381125" cy="876300"/>
          </a:xfrm>
          <a:prstGeom prst="rect">
            <a:avLst/>
          </a:prstGeom>
        </p:spPr>
      </p:pic>
      <p:pic>
        <p:nvPicPr>
          <p:cNvPr id="27" name="Picture 26"/>
          <p:cNvPicPr>
            <a:picLocks noChangeAspect="1"/>
          </p:cNvPicPr>
          <p:nvPr/>
        </p:nvPicPr>
        <p:blipFill>
          <a:blip r:embed="rId7"/>
          <a:stretch>
            <a:fillRect/>
          </a:stretch>
        </p:blipFill>
        <p:spPr>
          <a:xfrm>
            <a:off x="928506" y="3784038"/>
            <a:ext cx="1390650" cy="885825"/>
          </a:xfrm>
          <a:prstGeom prst="rect">
            <a:avLst/>
          </a:prstGeom>
        </p:spPr>
      </p:pic>
      <p:pic>
        <p:nvPicPr>
          <p:cNvPr id="28" name="Picture 27"/>
          <p:cNvPicPr>
            <a:picLocks noChangeAspect="1"/>
          </p:cNvPicPr>
          <p:nvPr/>
        </p:nvPicPr>
        <p:blipFill>
          <a:blip r:embed="rId8"/>
          <a:stretch>
            <a:fillRect/>
          </a:stretch>
        </p:blipFill>
        <p:spPr>
          <a:xfrm>
            <a:off x="995181" y="4651021"/>
            <a:ext cx="1323975" cy="866775"/>
          </a:xfrm>
          <a:prstGeom prst="rect">
            <a:avLst/>
          </a:prstGeom>
        </p:spPr>
      </p:pic>
      <p:sp>
        <p:nvSpPr>
          <p:cNvPr id="29" name="TextBox 28"/>
          <p:cNvSpPr txBox="1"/>
          <p:nvPr/>
        </p:nvSpPr>
        <p:spPr>
          <a:xfrm>
            <a:off x="494402" y="2373512"/>
            <a:ext cx="576942" cy="307777"/>
          </a:xfrm>
          <a:prstGeom prst="rect">
            <a:avLst/>
          </a:prstGeom>
          <a:noFill/>
        </p:spPr>
        <p:txBody>
          <a:bodyPr wrap="square" lIns="0" tIns="0" rIns="0" bIns="0" rtlCol="0">
            <a:spAutoFit/>
          </a:bodyPr>
          <a:lstStyle/>
          <a:p>
            <a:pPr algn="ctr"/>
            <a:r>
              <a:rPr lang="en-US" sz="2000" dirty="0"/>
              <a:t>1</a:t>
            </a:r>
          </a:p>
        </p:txBody>
      </p:sp>
      <p:sp>
        <p:nvSpPr>
          <p:cNvPr id="30" name="TextBox 29"/>
          <p:cNvSpPr txBox="1"/>
          <p:nvPr/>
        </p:nvSpPr>
        <p:spPr>
          <a:xfrm>
            <a:off x="494402" y="3215502"/>
            <a:ext cx="576942" cy="307777"/>
          </a:xfrm>
          <a:prstGeom prst="rect">
            <a:avLst/>
          </a:prstGeom>
          <a:noFill/>
        </p:spPr>
        <p:txBody>
          <a:bodyPr wrap="square" lIns="0" tIns="0" rIns="0" bIns="0" rtlCol="0">
            <a:spAutoFit/>
          </a:bodyPr>
          <a:lstStyle/>
          <a:p>
            <a:pPr algn="ctr"/>
            <a:r>
              <a:rPr lang="en-US" sz="2000" dirty="0"/>
              <a:t>2</a:t>
            </a:r>
          </a:p>
        </p:txBody>
      </p:sp>
      <p:sp>
        <p:nvSpPr>
          <p:cNvPr id="31" name="TextBox 30"/>
          <p:cNvSpPr txBox="1"/>
          <p:nvPr/>
        </p:nvSpPr>
        <p:spPr>
          <a:xfrm>
            <a:off x="494402" y="4072050"/>
            <a:ext cx="576942" cy="307777"/>
          </a:xfrm>
          <a:prstGeom prst="rect">
            <a:avLst/>
          </a:prstGeom>
          <a:noFill/>
        </p:spPr>
        <p:txBody>
          <a:bodyPr wrap="square" lIns="0" tIns="0" rIns="0" bIns="0" rtlCol="0">
            <a:spAutoFit/>
          </a:bodyPr>
          <a:lstStyle/>
          <a:p>
            <a:pPr algn="ctr"/>
            <a:r>
              <a:rPr lang="en-US" sz="2000" dirty="0"/>
              <a:t>3</a:t>
            </a:r>
          </a:p>
        </p:txBody>
      </p:sp>
      <p:sp>
        <p:nvSpPr>
          <p:cNvPr id="32" name="TextBox 31"/>
          <p:cNvSpPr txBox="1"/>
          <p:nvPr/>
        </p:nvSpPr>
        <p:spPr>
          <a:xfrm>
            <a:off x="494402" y="4930519"/>
            <a:ext cx="576942" cy="307777"/>
          </a:xfrm>
          <a:prstGeom prst="rect">
            <a:avLst/>
          </a:prstGeom>
          <a:noFill/>
        </p:spPr>
        <p:txBody>
          <a:bodyPr wrap="square" lIns="0" tIns="0" rIns="0" bIns="0" rtlCol="0">
            <a:spAutoFit/>
          </a:bodyPr>
          <a:lstStyle/>
          <a:p>
            <a:pPr algn="ctr"/>
            <a:r>
              <a:rPr lang="en-US" sz="2000" dirty="0"/>
              <a:t>3</a:t>
            </a:r>
          </a:p>
        </p:txBody>
      </p:sp>
      <p:sp>
        <p:nvSpPr>
          <p:cNvPr id="33" name="TextBox 32"/>
          <p:cNvSpPr txBox="1"/>
          <p:nvPr/>
        </p:nvSpPr>
        <p:spPr>
          <a:xfrm>
            <a:off x="2464072" y="2420901"/>
            <a:ext cx="2743200" cy="246221"/>
          </a:xfrm>
          <a:prstGeom prst="rect">
            <a:avLst/>
          </a:prstGeom>
          <a:noFill/>
        </p:spPr>
        <p:txBody>
          <a:bodyPr wrap="square" lIns="0" tIns="0" rIns="0" bIns="0" rtlCol="0">
            <a:spAutoFit/>
          </a:bodyPr>
          <a:lstStyle/>
          <a:p>
            <a:r>
              <a:rPr lang="en-US" sz="1600" dirty="0">
                <a:latin typeface="3M Circular TT Light" panose="020B0404020101020102" pitchFamily="34" charset="0"/>
                <a:cs typeface="3M Circular TT Light" panose="020B0404020101020102" pitchFamily="34" charset="0"/>
              </a:rPr>
              <a:t>Apply recommended adhesive</a:t>
            </a:r>
          </a:p>
        </p:txBody>
      </p:sp>
      <p:sp>
        <p:nvSpPr>
          <p:cNvPr id="34" name="TextBox 33"/>
          <p:cNvSpPr txBox="1"/>
          <p:nvPr/>
        </p:nvSpPr>
        <p:spPr>
          <a:xfrm>
            <a:off x="2464072" y="3248614"/>
            <a:ext cx="2743200" cy="246221"/>
          </a:xfrm>
          <a:prstGeom prst="rect">
            <a:avLst/>
          </a:prstGeom>
          <a:noFill/>
        </p:spPr>
        <p:txBody>
          <a:bodyPr wrap="square" lIns="0" tIns="0" rIns="0" bIns="0" rtlCol="0">
            <a:spAutoFit/>
          </a:bodyPr>
          <a:lstStyle/>
          <a:p>
            <a:r>
              <a:rPr lang="en-US" sz="1600" dirty="0">
                <a:latin typeface="3M Circular TT Light" panose="020B0404020101020102" pitchFamily="34" charset="0"/>
                <a:cs typeface="3M Circular TT Light" panose="020B0404020101020102" pitchFamily="34" charset="0"/>
              </a:rPr>
              <a:t>Set RPM using finger-holds</a:t>
            </a:r>
          </a:p>
        </p:txBody>
      </p:sp>
      <p:sp>
        <p:nvSpPr>
          <p:cNvPr id="35" name="TextBox 34"/>
          <p:cNvSpPr txBox="1"/>
          <p:nvPr/>
        </p:nvSpPr>
        <p:spPr>
          <a:xfrm>
            <a:off x="2464072" y="3916490"/>
            <a:ext cx="2743200" cy="492443"/>
          </a:xfrm>
          <a:prstGeom prst="rect">
            <a:avLst/>
          </a:prstGeom>
          <a:noFill/>
        </p:spPr>
        <p:txBody>
          <a:bodyPr wrap="square" lIns="0" tIns="0" rIns="0" bIns="0" rtlCol="0">
            <a:spAutoFit/>
          </a:bodyPr>
          <a:lstStyle/>
          <a:p>
            <a:r>
              <a:rPr lang="en-US" sz="1600" dirty="0">
                <a:latin typeface="3M Circular TT Light" panose="020B0404020101020102" pitchFamily="34" charset="0"/>
                <a:cs typeface="3M Circular TT Light" panose="020B0404020101020102" pitchFamily="34" charset="0"/>
              </a:rPr>
              <a:t>Apply recommended amount of pressure to set</a:t>
            </a:r>
          </a:p>
        </p:txBody>
      </p:sp>
      <p:sp>
        <p:nvSpPr>
          <p:cNvPr id="36" name="TextBox 35"/>
          <p:cNvSpPr txBox="1"/>
          <p:nvPr/>
        </p:nvSpPr>
        <p:spPr>
          <a:xfrm>
            <a:off x="2464072" y="4903800"/>
            <a:ext cx="2743200" cy="246221"/>
          </a:xfrm>
          <a:prstGeom prst="rect">
            <a:avLst/>
          </a:prstGeom>
          <a:noFill/>
        </p:spPr>
        <p:txBody>
          <a:bodyPr wrap="square" lIns="0" tIns="0" rIns="0" bIns="0" rtlCol="0">
            <a:spAutoFit/>
          </a:bodyPr>
          <a:lstStyle/>
          <a:p>
            <a:r>
              <a:rPr lang="en-US" sz="1600" dirty="0">
                <a:latin typeface="3M Circular TT Light" panose="020B0404020101020102" pitchFamily="34" charset="0"/>
                <a:cs typeface="3M Circular TT Light" panose="020B0404020101020102" pitchFamily="34" charset="0"/>
              </a:rPr>
              <a:t>Done! Road open!</a:t>
            </a:r>
          </a:p>
        </p:txBody>
      </p:sp>
    </p:spTree>
    <p:extLst>
      <p:ext uri="{BB962C8B-B14F-4D97-AF65-F5344CB8AC3E}">
        <p14:creationId xmlns:p14="http://schemas.microsoft.com/office/powerpoint/2010/main" val="163210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6" name="Object 11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0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5" name="Rectangle 114" hidden="1"/>
          <p:cNvSpPr/>
          <p:nvPr>
            <p:custDataLst>
              <p:tags r:id="rId3"/>
            </p:custDataLst>
          </p:nvPr>
        </p:nvSpPr>
        <p:spPr bwMode="auto">
          <a:xfrm>
            <a:off x="0" y="0"/>
            <a:ext cx="158750" cy="15875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lstStyle/>
          <a:p>
            <a:pPr algn="ctr">
              <a:spcBef>
                <a:spcPct val="0"/>
              </a:spcBef>
              <a:spcAft>
                <a:spcPct val="0"/>
              </a:spcAft>
            </a:pPr>
            <a:endParaRPr lang="en-US" sz="1000" dirty="0">
              <a:solidFill>
                <a:srgbClr val="FFFFFF"/>
              </a:solidFill>
              <a:sym typeface="+mn-lt"/>
            </a:endParaRPr>
          </a:p>
        </p:txBody>
      </p:sp>
      <p:sp>
        <p:nvSpPr>
          <p:cNvPr id="119" name="Text Placeholder 3"/>
          <p:cNvSpPr>
            <a:spLocks noGrp="1"/>
          </p:cNvSpPr>
          <p:nvPr>
            <p:ph type="body" sz="quarter" idx="10"/>
          </p:nvPr>
        </p:nvSpPr>
        <p:spPr>
          <a:xfrm>
            <a:off x="381000" y="841248"/>
            <a:ext cx="11430000" cy="365760"/>
          </a:xfrm>
        </p:spPr>
        <p:txBody>
          <a:bodyPr/>
          <a:lstStyle/>
          <a:p>
            <a:r>
              <a:rPr lang="en-US" sz="2000" dirty="0">
                <a:solidFill>
                  <a:schemeClr val="tx1">
                    <a:lumMod val="50000"/>
                    <a:lumOff val="50000"/>
                  </a:schemeClr>
                </a:solidFill>
              </a:rPr>
              <a:t>3M</a:t>
            </a:r>
            <a:r>
              <a:rPr lang="en-US" sz="2000" dirty="0">
                <a:solidFill>
                  <a:schemeClr val="tx1">
                    <a:lumMod val="50000"/>
                    <a:lumOff val="50000"/>
                  </a:schemeClr>
                </a:solidFill>
                <a:latin typeface="3M Circular TT Bold" panose="020B0804020101010102" pitchFamily="34" charset="0"/>
                <a:cs typeface="3M Circular TT Bold" panose="020B0804020101010102" pitchFamily="34" charset="0"/>
              </a:rPr>
              <a:t>™</a:t>
            </a:r>
            <a:r>
              <a:rPr lang="en-US" sz="2000" dirty="0">
                <a:solidFill>
                  <a:schemeClr val="tx1">
                    <a:lumMod val="50000"/>
                    <a:lumOff val="50000"/>
                  </a:schemeClr>
                </a:solidFill>
              </a:rPr>
              <a:t> 190 RPM can deliver </a:t>
            </a:r>
            <a:r>
              <a:rPr lang="en-US" sz="2000" dirty="0">
                <a:solidFill>
                  <a:srgbClr val="808080"/>
                </a:solidFill>
              </a:rPr>
              <a:t>superb</a:t>
            </a:r>
            <a:r>
              <a:rPr lang="en-US" sz="2000" dirty="0">
                <a:solidFill>
                  <a:schemeClr val="tx1">
                    <a:lumMod val="50000"/>
                    <a:lumOff val="50000"/>
                  </a:schemeClr>
                </a:solidFill>
              </a:rPr>
              <a:t> performance during challenging weather conditions</a:t>
            </a:r>
          </a:p>
        </p:txBody>
      </p:sp>
      <p:sp>
        <p:nvSpPr>
          <p:cNvPr id="120" name="Rectangle 119"/>
          <p:cNvSpPr/>
          <p:nvPr/>
        </p:nvSpPr>
        <p:spPr>
          <a:xfrm>
            <a:off x="379412" y="1343107"/>
            <a:ext cx="5347403" cy="529397"/>
          </a:xfrm>
          <a:prstGeom prst="rect">
            <a:avLst/>
          </a:prstGeom>
          <a:solidFill>
            <a:schemeClr val="bg1"/>
          </a:solid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a:solidFill>
                  <a:prstClr val="black"/>
                </a:solidFill>
              </a:rPr>
              <a:t>Water Penetration Resistance </a:t>
            </a:r>
          </a:p>
        </p:txBody>
      </p:sp>
      <p:sp>
        <p:nvSpPr>
          <p:cNvPr id="122" name="TextBox 121"/>
          <p:cNvSpPr txBox="1"/>
          <p:nvPr/>
        </p:nvSpPr>
        <p:spPr>
          <a:xfrm>
            <a:off x="379413" y="6414952"/>
            <a:ext cx="5583237" cy="153888"/>
          </a:xfrm>
          <a:prstGeom prst="rect">
            <a:avLst/>
          </a:prstGeom>
          <a:noFill/>
        </p:spPr>
        <p:txBody>
          <a:bodyPr wrap="square" lIns="0" tIns="0" rIns="0" bIns="0" rtlCol="0">
            <a:spAutoFit/>
          </a:bodyPr>
          <a:lstStyle/>
          <a:p>
            <a:r>
              <a:rPr lang="en-US" sz="1000" dirty="0">
                <a:solidFill>
                  <a:prstClr val="black"/>
                </a:solidFill>
              </a:rPr>
              <a:t>Source: </a:t>
            </a:r>
            <a:r>
              <a:rPr lang="en-US" sz="1000" dirty="0">
                <a:solidFill>
                  <a:prstClr val="black"/>
                </a:solidFill>
                <a:latin typeface="3M Circular TT Light" panose="020B0404020101020102" pitchFamily="34" charset="0"/>
                <a:cs typeface="3M Circular TT Light" panose="020B0404020101020102" pitchFamily="34" charset="0"/>
              </a:rPr>
              <a:t>190 Product Bulletin</a:t>
            </a:r>
          </a:p>
        </p:txBody>
      </p:sp>
      <p:sp>
        <p:nvSpPr>
          <p:cNvPr id="140" name="Title 1"/>
          <p:cNvSpPr>
            <a:spLocks noGrp="1"/>
          </p:cNvSpPr>
          <p:nvPr>
            <p:ph type="title"/>
          </p:nvPr>
        </p:nvSpPr>
        <p:spPr>
          <a:xfrm>
            <a:off x="379412" y="379414"/>
            <a:ext cx="11425237" cy="457200"/>
          </a:xfrm>
        </p:spPr>
        <p:txBody>
          <a:bodyPr/>
          <a:lstStyle/>
          <a:p>
            <a:r>
              <a:rPr lang="en-US" dirty="0"/>
              <a:t>3M’s Unique Selling Advantage: </a:t>
            </a:r>
            <a:r>
              <a:rPr lang="en-US" dirty="0">
                <a:solidFill>
                  <a:srgbClr val="00B0F0"/>
                </a:solidFill>
              </a:rPr>
              <a:t>Water Resistant</a:t>
            </a:r>
          </a:p>
        </p:txBody>
      </p:sp>
      <p:sp>
        <p:nvSpPr>
          <p:cNvPr id="141" name="Rectangle 140"/>
          <p:cNvSpPr/>
          <p:nvPr/>
        </p:nvSpPr>
        <p:spPr>
          <a:xfrm>
            <a:off x="6651003" y="1343107"/>
            <a:ext cx="5347403" cy="529397"/>
          </a:xfrm>
          <a:prstGeom prst="rect">
            <a:avLst/>
          </a:prstGeom>
          <a:solidFill>
            <a:schemeClr val="bg1"/>
          </a:solid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ctr"/>
          <a:lstStyle/>
          <a:p>
            <a:pPr algn="ctr"/>
            <a:r>
              <a:rPr lang="en-US" sz="2000" dirty="0" err="1">
                <a:solidFill>
                  <a:prstClr val="black"/>
                </a:solidFill>
              </a:rPr>
              <a:t>Snowplowable</a:t>
            </a:r>
            <a:r>
              <a:rPr lang="en-US" sz="2000" dirty="0">
                <a:solidFill>
                  <a:prstClr val="black"/>
                </a:solidFill>
              </a:rPr>
              <a:t> Grooved 190 Application</a:t>
            </a:r>
          </a:p>
        </p:txBody>
      </p:sp>
      <p:pic>
        <p:nvPicPr>
          <p:cNvPr id="7" name="Picture 6"/>
          <p:cNvPicPr>
            <a:picLocks noChangeAspect="1"/>
          </p:cNvPicPr>
          <p:nvPr/>
        </p:nvPicPr>
        <p:blipFill>
          <a:blip r:embed="rId8"/>
          <a:stretch>
            <a:fillRect/>
          </a:stretch>
        </p:blipFill>
        <p:spPr>
          <a:xfrm>
            <a:off x="7127024" y="2089010"/>
            <a:ext cx="4395360" cy="3146223"/>
          </a:xfrm>
          <a:prstGeom prst="rect">
            <a:avLst/>
          </a:prstGeom>
        </p:spPr>
      </p:pic>
      <p:sp>
        <p:nvSpPr>
          <p:cNvPr id="142" name="TextBox 141"/>
          <p:cNvSpPr txBox="1"/>
          <p:nvPr/>
        </p:nvSpPr>
        <p:spPr>
          <a:xfrm>
            <a:off x="379412" y="5616080"/>
            <a:ext cx="1862626" cy="307777"/>
          </a:xfrm>
          <a:prstGeom prst="rect">
            <a:avLst/>
          </a:prstGeom>
          <a:noFill/>
        </p:spPr>
        <p:txBody>
          <a:bodyPr wrap="square" lIns="0" tIns="0" rIns="0" bIns="0" rtlCol="0">
            <a:spAutoFit/>
          </a:bodyPr>
          <a:lstStyle/>
          <a:p>
            <a:pPr algn="ctr"/>
            <a:r>
              <a:rPr lang="en-US" sz="2000" dirty="0">
                <a:solidFill>
                  <a:prstClr val="black"/>
                </a:solidFill>
              </a:rPr>
              <a:t>Bottom Line:</a:t>
            </a:r>
          </a:p>
        </p:txBody>
      </p:sp>
      <p:sp>
        <p:nvSpPr>
          <p:cNvPr id="143" name="TextBox 142"/>
          <p:cNvSpPr txBox="1"/>
          <p:nvPr/>
        </p:nvSpPr>
        <p:spPr>
          <a:xfrm>
            <a:off x="2139705" y="5616080"/>
            <a:ext cx="9776005" cy="307777"/>
          </a:xfrm>
          <a:prstGeom prst="rect">
            <a:avLst/>
          </a:prstGeom>
          <a:noFill/>
        </p:spPr>
        <p:txBody>
          <a:bodyPr wrap="square" lIns="0" tIns="0" rIns="0" bIns="0" rtlCol="0">
            <a:spAutoFit/>
          </a:bodyPr>
          <a:lstStyle/>
          <a:p>
            <a:r>
              <a:rPr lang="en-US" sz="2000" dirty="0">
                <a:solidFill>
                  <a:prstClr val="black"/>
                </a:solidFill>
                <a:latin typeface="3M Circular TT Light" panose="020B0404020101020102" pitchFamily="34" charset="0"/>
                <a:cs typeface="3M Circular TT Light" panose="020B0404020101020102" pitchFamily="34" charset="0"/>
              </a:rPr>
              <a:t>3M™ Raised Pavement Markers are ideal for plowable grooved application</a:t>
            </a:r>
          </a:p>
        </p:txBody>
      </p:sp>
      <p:sp>
        <p:nvSpPr>
          <p:cNvPr id="144" name="Rectangle 143"/>
          <p:cNvSpPr/>
          <p:nvPr/>
        </p:nvSpPr>
        <p:spPr>
          <a:xfrm>
            <a:off x="379412" y="5451740"/>
            <a:ext cx="11589136" cy="629953"/>
          </a:xfrm>
          <a:prstGeom prst="rect">
            <a:avLst/>
          </a:pr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solidFill>
                <a:srgbClr val="FFFFFF"/>
              </a:solidFill>
            </a:endParaRPr>
          </a:p>
        </p:txBody>
      </p:sp>
      <p:sp>
        <p:nvSpPr>
          <p:cNvPr id="8" name="TextBox 7"/>
          <p:cNvSpPr txBox="1"/>
          <p:nvPr/>
        </p:nvSpPr>
        <p:spPr>
          <a:xfrm>
            <a:off x="379413" y="2089010"/>
            <a:ext cx="5347402" cy="3200876"/>
          </a:xfrm>
          <a:prstGeom prst="rect">
            <a:avLst/>
          </a:prstGeom>
          <a:noFill/>
        </p:spPr>
        <p:txBody>
          <a:bodyPr wrap="square" lIns="0" tIns="0" rIns="0" bIns="0" rtlCol="0">
            <a:spAutoFit/>
          </a:bodyPr>
          <a:lstStyle/>
          <a:p>
            <a:r>
              <a:rPr lang="en-US" sz="1600" u="sng" dirty="0">
                <a:solidFill>
                  <a:prstClr val="black"/>
                </a:solidFill>
              </a:rPr>
              <a:t>3M Lab Water Penetration Test</a:t>
            </a:r>
          </a:p>
          <a:p>
            <a:pPr marL="742950" lvl="1" indent="-285750">
              <a:buFont typeface="Wingdings" panose="05000000000000000000" pitchFamily="2" charset="2"/>
              <a:buChar char="§"/>
            </a:pPr>
            <a:endParaRPr lang="en-US" sz="1600" dirty="0">
              <a:solidFill>
                <a:prstClr val="black"/>
              </a:solidFill>
            </a:endParaRPr>
          </a:p>
          <a:p>
            <a:pPr marL="517525" lvl="1" indent="-228600">
              <a:buFont typeface="Wingdings" panose="05000000000000000000" pitchFamily="2" charset="2"/>
              <a:buChar char="§"/>
            </a:pPr>
            <a:r>
              <a:rPr lang="en-US" sz="1600" dirty="0">
                <a:solidFill>
                  <a:prstClr val="black"/>
                </a:solidFill>
                <a:latin typeface="3M Circular TT Light" panose="020B0404020101020102" pitchFamily="34" charset="0"/>
                <a:cs typeface="3M Circular TT Light" panose="020B0404020101020102" pitchFamily="34" charset="0"/>
              </a:rPr>
              <a:t>Markers conditioned at 145⁰ F for 10 minutes</a:t>
            </a:r>
          </a:p>
          <a:p>
            <a:pPr marL="288925" lvl="1"/>
            <a:endParaRPr lang="en-US" sz="1600" dirty="0">
              <a:solidFill>
                <a:prstClr val="black"/>
              </a:solidFill>
              <a:latin typeface="3M Circular TT Light" panose="020B0404020101020102" pitchFamily="34" charset="0"/>
              <a:cs typeface="3M Circular TT Light" panose="020B0404020101020102" pitchFamily="34" charset="0"/>
            </a:endParaRPr>
          </a:p>
          <a:p>
            <a:pPr marL="517525" lvl="1" indent="-228600">
              <a:buFont typeface="Wingdings" panose="05000000000000000000" pitchFamily="2" charset="2"/>
              <a:buChar char="§"/>
            </a:pPr>
            <a:r>
              <a:rPr lang="en-US" sz="1600" dirty="0">
                <a:solidFill>
                  <a:prstClr val="black"/>
                </a:solidFill>
                <a:latin typeface="3M Circular TT Light" panose="020B0404020101020102" pitchFamily="34" charset="0"/>
                <a:cs typeface="3M Circular TT Light" panose="020B0404020101020102" pitchFamily="34" charset="0"/>
              </a:rPr>
              <a:t>Markers submerged in a water bath for 10 minutes</a:t>
            </a:r>
          </a:p>
          <a:p>
            <a:pPr marL="517525" lvl="1" indent="-228600">
              <a:buFont typeface="Wingdings" panose="05000000000000000000" pitchFamily="2" charset="2"/>
              <a:buChar char="§"/>
            </a:pPr>
            <a:endParaRPr lang="en-US" sz="1600" dirty="0">
              <a:solidFill>
                <a:prstClr val="black"/>
              </a:solidFill>
              <a:latin typeface="3M Circular TT Light" panose="020B0404020101020102" pitchFamily="34" charset="0"/>
              <a:cs typeface="3M Circular TT Light" panose="020B0404020101020102" pitchFamily="34" charset="0"/>
            </a:endParaRPr>
          </a:p>
          <a:p>
            <a:pPr marL="517525" lvl="1" indent="-228600">
              <a:buFont typeface="Wingdings" panose="05000000000000000000" pitchFamily="2" charset="2"/>
              <a:buChar char="§"/>
            </a:pPr>
            <a:r>
              <a:rPr lang="en-US" sz="1600" dirty="0">
                <a:solidFill>
                  <a:prstClr val="black"/>
                </a:solidFill>
                <a:latin typeface="3M Circular TT Light" panose="020B0404020101020102" pitchFamily="34" charset="0"/>
                <a:cs typeface="3M Circular TT Light" panose="020B0404020101020102" pitchFamily="34" charset="0"/>
              </a:rPr>
              <a:t>Markers visually inspected for water penetration and measured for reflectivity in accordance with ASTM E809</a:t>
            </a:r>
          </a:p>
          <a:p>
            <a:pPr marL="517525" lvl="1" indent="-228600">
              <a:buFont typeface="Wingdings" panose="05000000000000000000" pitchFamily="2" charset="2"/>
              <a:buChar char="§"/>
            </a:pPr>
            <a:endParaRPr lang="en-US" sz="1600" dirty="0">
              <a:solidFill>
                <a:prstClr val="black"/>
              </a:solidFill>
              <a:latin typeface="3M Circular TT Light" panose="020B0404020101020102" pitchFamily="34" charset="0"/>
              <a:cs typeface="3M Circular TT Light" panose="020B0404020101020102" pitchFamily="34" charset="0"/>
            </a:endParaRPr>
          </a:p>
          <a:p>
            <a:pPr marL="517525" lvl="1" indent="-228600">
              <a:buFont typeface="Wingdings" panose="05000000000000000000" pitchFamily="2" charset="2"/>
              <a:buChar char="§"/>
            </a:pPr>
            <a:r>
              <a:rPr lang="en-US" sz="1600" dirty="0">
                <a:solidFill>
                  <a:prstClr val="black"/>
                </a:solidFill>
                <a:latin typeface="3M Circular TT Light" panose="020B0404020101020102" pitchFamily="34" charset="0"/>
                <a:cs typeface="3M Circular TT Light" panose="020B0404020101020102" pitchFamily="34" charset="0"/>
              </a:rPr>
              <a:t>No markers had water penetration and all maintain brightness values outlined on “Visibility” page, see product bulletin for details</a:t>
            </a:r>
          </a:p>
        </p:txBody>
      </p:sp>
    </p:spTree>
    <p:extLst>
      <p:ext uri="{BB962C8B-B14F-4D97-AF65-F5344CB8AC3E}">
        <p14:creationId xmlns:p14="http://schemas.microsoft.com/office/powerpoint/2010/main" val="2445468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3M’s RPM Product Portfolio</a:t>
            </a:r>
          </a:p>
        </p:txBody>
      </p:sp>
      <p:graphicFrame>
        <p:nvGraphicFramePr>
          <p:cNvPr id="5" name="Table 4"/>
          <p:cNvGraphicFramePr>
            <a:graphicFrameLocks noGrp="1"/>
          </p:cNvGraphicFramePr>
          <p:nvPr>
            <p:extLst/>
          </p:nvPr>
        </p:nvGraphicFramePr>
        <p:xfrm>
          <a:off x="1868847" y="1259187"/>
          <a:ext cx="8568927" cy="5186258"/>
        </p:xfrm>
        <a:graphic>
          <a:graphicData uri="http://schemas.openxmlformats.org/drawingml/2006/table">
            <a:tbl>
              <a:tblPr firstRow="1" bandRow="1">
                <a:tableStyleId>{5940675A-B579-460E-94D1-54222C63F5DA}</a:tableStyleId>
              </a:tblPr>
              <a:tblGrid>
                <a:gridCol w="2856309">
                  <a:extLst>
                    <a:ext uri="{9D8B030D-6E8A-4147-A177-3AD203B41FA5}">
                      <a16:colId xmlns:a16="http://schemas.microsoft.com/office/drawing/2014/main" xmlns="" val="20000"/>
                    </a:ext>
                  </a:extLst>
                </a:gridCol>
                <a:gridCol w="2856309">
                  <a:extLst>
                    <a:ext uri="{9D8B030D-6E8A-4147-A177-3AD203B41FA5}">
                      <a16:colId xmlns:a16="http://schemas.microsoft.com/office/drawing/2014/main" xmlns="" val="20001"/>
                    </a:ext>
                  </a:extLst>
                </a:gridCol>
                <a:gridCol w="2856309">
                  <a:extLst>
                    <a:ext uri="{9D8B030D-6E8A-4147-A177-3AD203B41FA5}">
                      <a16:colId xmlns:a16="http://schemas.microsoft.com/office/drawing/2014/main" xmlns="" val="20002"/>
                    </a:ext>
                  </a:extLst>
                </a:gridCol>
              </a:tblGrid>
              <a:tr h="2593129">
                <a:tc>
                  <a:txBody>
                    <a:bodyPr/>
                    <a:lstStyle/>
                    <a:p>
                      <a:pPr marL="0" indent="0">
                        <a:buFont typeface="Wingdings" panose="05000000000000000000" pitchFamily="2" charset="2"/>
                        <a:buNone/>
                      </a:pPr>
                      <a:endParaRPr lang="en-US" sz="1400" dirty="0">
                        <a:latin typeface="3M Circular TT Book" panose="020B0604020101020102" pitchFamily="34" charset="0"/>
                        <a:cs typeface="3M Circular TT Book" panose="020B0604020101020102" pitchFamily="34" charset="0"/>
                      </a:endParaRPr>
                    </a:p>
                    <a:p>
                      <a:pPr marL="0" indent="0">
                        <a:buFont typeface="Wingdings" panose="05000000000000000000" pitchFamily="2" charset="2"/>
                        <a:buNone/>
                      </a:pPr>
                      <a:endParaRPr lang="en-US" sz="1400" dirty="0">
                        <a:latin typeface="3M Circular TT Book" panose="020B0604020101020102" pitchFamily="34" charset="0"/>
                        <a:cs typeface="3M Circular TT Book" panose="020B0604020101020102" pitchFamily="34" charset="0"/>
                      </a:endParaRPr>
                    </a:p>
                    <a:p>
                      <a:pPr marL="0" indent="0">
                        <a:buFont typeface="Wingdings" panose="05000000000000000000" pitchFamily="2" charset="2"/>
                        <a:buNone/>
                      </a:pPr>
                      <a:endParaRPr lang="en-US" sz="1400" dirty="0">
                        <a:latin typeface="3M Circular TT Book" panose="020B0604020101020102" pitchFamily="34" charset="0"/>
                        <a:cs typeface="3M Circular TT Book" panose="020B0604020101020102" pitchFamily="34" charset="0"/>
                      </a:endParaRPr>
                    </a:p>
                    <a:p>
                      <a:pPr marL="0" indent="0" algn="ctr">
                        <a:buFont typeface="Wingdings" panose="05000000000000000000" pitchFamily="2" charset="2"/>
                        <a:buNone/>
                      </a:pPr>
                      <a:endParaRPr lang="en-US" sz="1400" dirty="0">
                        <a:latin typeface="3M Circular TT Book" panose="020B0604020101020102" pitchFamily="34" charset="0"/>
                        <a:cs typeface="3M Circular TT Book" panose="020B0604020101020102" pitchFamily="34" charset="0"/>
                      </a:endParaRPr>
                    </a:p>
                  </a:txBody>
                  <a:tcPr/>
                </a:tc>
                <a:tc>
                  <a:txBody>
                    <a:bodyPr/>
                    <a:lstStyle/>
                    <a:p>
                      <a:pPr marL="0" lvl="0" indent="-166688">
                        <a:buFont typeface="Wingdings" panose="05000000000000000000" pitchFamily="2" charset="2"/>
                        <a:buNone/>
                      </a:pPr>
                      <a:endParaRPr lang="en-US" sz="1200" dirty="0">
                        <a:latin typeface="3M Circular TT Light" panose="020B0404020101020102" pitchFamily="34" charset="0"/>
                        <a:cs typeface="3M Circular TT Light" panose="020B0404020101020102" pitchFamily="34" charset="0"/>
                      </a:endParaRPr>
                    </a:p>
                    <a:p>
                      <a:pPr marL="0" lvl="0" indent="-166688">
                        <a:buFont typeface="Wingdings" panose="05000000000000000000" pitchFamily="2" charset="2"/>
                        <a:buNone/>
                      </a:pPr>
                      <a:endParaRPr lang="en-US" sz="1200" dirty="0">
                        <a:latin typeface="3M Circular TT Light" panose="020B0404020101020102" pitchFamily="34" charset="0"/>
                        <a:cs typeface="3M Circular TT Light" panose="020B0404020101020102" pitchFamily="34" charset="0"/>
                      </a:endParaRPr>
                    </a:p>
                  </a:txBody>
                  <a:tcPr/>
                </a:tc>
                <a:tc>
                  <a:txBody>
                    <a:bodyPr/>
                    <a:lstStyle/>
                    <a:p>
                      <a:pPr marL="0" lvl="0" indent="-166688">
                        <a:buFont typeface="Wingdings" panose="05000000000000000000" pitchFamily="2" charset="2"/>
                        <a:buNone/>
                      </a:pPr>
                      <a:endParaRPr lang="en-US" sz="1200" dirty="0">
                        <a:latin typeface="3M Circular TT Light" panose="020B0404020101020102" pitchFamily="34" charset="0"/>
                        <a:cs typeface="3M Circular TT Light" panose="020B0404020101020102" pitchFamily="34" charset="0"/>
                      </a:endParaRPr>
                    </a:p>
                  </a:txBody>
                  <a:tcPr/>
                </a:tc>
                <a:extLst>
                  <a:ext uri="{0D108BD9-81ED-4DB2-BD59-A6C34878D82A}">
                    <a16:rowId xmlns:a16="http://schemas.microsoft.com/office/drawing/2014/main" xmlns="" val="10000"/>
                  </a:ext>
                </a:extLst>
              </a:tr>
              <a:tr h="2593129">
                <a:tc>
                  <a:txBody>
                    <a:bodyPr/>
                    <a:lstStyle/>
                    <a:p>
                      <a:pPr marL="0" indent="0">
                        <a:buFont typeface="Wingdings" panose="05000000000000000000" pitchFamily="2" charset="2"/>
                        <a:buNone/>
                      </a:pPr>
                      <a:endParaRPr lang="en-US" sz="1400" dirty="0">
                        <a:latin typeface="3M Circular TT Book" panose="020B0604020101020102" pitchFamily="34" charset="0"/>
                        <a:cs typeface="3M Circular TT Book" panose="020B0604020101020102" pitchFamily="34" charset="0"/>
                      </a:endParaRPr>
                    </a:p>
                    <a:p>
                      <a:pPr marL="0" indent="0">
                        <a:buFont typeface="Wingdings" panose="05000000000000000000" pitchFamily="2" charset="2"/>
                        <a:buNone/>
                      </a:pPr>
                      <a:endParaRPr lang="en-US" sz="1400" dirty="0">
                        <a:latin typeface="3M Circular TT Book" panose="020B0604020101020102" pitchFamily="34" charset="0"/>
                        <a:cs typeface="3M Circular TT Book" panose="020B0604020101020102" pitchFamily="34" charset="0"/>
                      </a:endParaRPr>
                    </a:p>
                  </a:txBody>
                  <a:tcPr/>
                </a:tc>
                <a:tc>
                  <a:txBody>
                    <a:bodyPr/>
                    <a:lstStyle/>
                    <a:p>
                      <a:pPr marL="0" lvl="0" indent="0">
                        <a:buFont typeface="Wingdings" panose="05000000000000000000" pitchFamily="2" charset="2"/>
                        <a:buNone/>
                      </a:pPr>
                      <a:endParaRPr lang="en-US" sz="1200" i="0" dirty="0">
                        <a:latin typeface="3M Circular TT Light" panose="020B0404020101020102" pitchFamily="34" charset="0"/>
                        <a:cs typeface="3M Circular TT Light" panose="020B0404020101020102" pitchFamily="34" charset="0"/>
                      </a:endParaRPr>
                    </a:p>
                    <a:p>
                      <a:pPr marL="0" lvl="0" indent="0">
                        <a:buFont typeface="Wingdings" panose="05000000000000000000" pitchFamily="2" charset="2"/>
                        <a:buNone/>
                      </a:pPr>
                      <a:endParaRPr lang="en-US" sz="1200" i="0" dirty="0">
                        <a:latin typeface="3M Circular TT Light" panose="020B0404020101020102" pitchFamily="34" charset="0"/>
                        <a:cs typeface="3M Circular TT Light" panose="020B0404020101020102" pitchFamily="34" charset="0"/>
                      </a:endParaRPr>
                    </a:p>
                  </a:txBody>
                  <a:tcPr/>
                </a:tc>
                <a:tc>
                  <a:txBody>
                    <a:bodyPr/>
                    <a:lstStyle/>
                    <a:p>
                      <a:pPr marL="0" lvl="0" indent="-166688">
                        <a:buFont typeface="Wingdings" panose="05000000000000000000" pitchFamily="2" charset="2"/>
                        <a:buNone/>
                      </a:pPr>
                      <a:endParaRPr lang="en-US" sz="1200" dirty="0">
                        <a:latin typeface="3M Circular TT Light" panose="020B0404020101020102" pitchFamily="34" charset="0"/>
                        <a:cs typeface="3M Circular TT Light" panose="020B0404020101020102" pitchFamily="34" charset="0"/>
                      </a:endParaRPr>
                    </a:p>
                    <a:p>
                      <a:pPr marL="0" lvl="0" indent="-166688">
                        <a:buFont typeface="Wingdings" panose="05000000000000000000" pitchFamily="2" charset="2"/>
                        <a:buNone/>
                      </a:pPr>
                      <a:endParaRPr lang="en-US" sz="1200" dirty="0">
                        <a:latin typeface="3M Circular TT Light" panose="020B0404020101020102" pitchFamily="34" charset="0"/>
                        <a:cs typeface="3M Circular TT Light" panose="020B0404020101020102" pitchFamily="34" charset="0"/>
                      </a:endParaRPr>
                    </a:p>
                  </a:txBody>
                  <a:tcPr/>
                </a:tc>
                <a:extLst>
                  <a:ext uri="{0D108BD9-81ED-4DB2-BD59-A6C34878D82A}">
                    <a16:rowId xmlns:a16="http://schemas.microsoft.com/office/drawing/2014/main" xmlns="" val="10001"/>
                  </a:ext>
                </a:extLst>
              </a:tr>
            </a:tbl>
          </a:graphicData>
        </a:graphic>
      </p:graphicFrame>
      <p:sp>
        <p:nvSpPr>
          <p:cNvPr id="6" name="Rectangle 5"/>
          <p:cNvSpPr/>
          <p:nvPr/>
        </p:nvSpPr>
        <p:spPr>
          <a:xfrm>
            <a:off x="4040724" y="1259186"/>
            <a:ext cx="685800" cy="685800"/>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7" name="Rectangle 6"/>
          <p:cNvSpPr/>
          <p:nvPr/>
        </p:nvSpPr>
        <p:spPr>
          <a:xfrm>
            <a:off x="6895665" y="1259186"/>
            <a:ext cx="685800" cy="685800"/>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8" name="Rectangle 7"/>
          <p:cNvSpPr/>
          <p:nvPr/>
        </p:nvSpPr>
        <p:spPr>
          <a:xfrm>
            <a:off x="9750606" y="1259186"/>
            <a:ext cx="685800" cy="685800"/>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2" name="Rectangle 11"/>
          <p:cNvSpPr/>
          <p:nvPr/>
        </p:nvSpPr>
        <p:spPr>
          <a:xfrm>
            <a:off x="6895665" y="3852315"/>
            <a:ext cx="685800" cy="685800"/>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sp>
        <p:nvSpPr>
          <p:cNvPr id="13" name="Rectangle 12"/>
          <p:cNvSpPr/>
          <p:nvPr/>
        </p:nvSpPr>
        <p:spPr>
          <a:xfrm>
            <a:off x="4040724" y="3852315"/>
            <a:ext cx="685800" cy="685800"/>
          </a:xfrm>
          <a:prstGeom prst="rect">
            <a:avLst/>
          </a:prstGeom>
          <a:no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80000" tIns="180000" rIns="180000" bIns="180000" rtlCol="0" anchor="t"/>
          <a:lstStyle/>
          <a:p>
            <a:pPr algn="ctr"/>
            <a:endParaRPr lang="en-US" sz="2000" dirty="0"/>
          </a:p>
        </p:txBody>
      </p:sp>
      <p:pic>
        <p:nvPicPr>
          <p:cNvPr id="14" name="Picture 13"/>
          <p:cNvPicPr>
            <a:picLocks noChangeAspect="1"/>
          </p:cNvPicPr>
          <p:nvPr/>
        </p:nvPicPr>
        <p:blipFill>
          <a:blip r:embed="rId3"/>
          <a:stretch>
            <a:fillRect/>
          </a:stretch>
        </p:blipFill>
        <p:spPr>
          <a:xfrm>
            <a:off x="4081955" y="1325507"/>
            <a:ext cx="603337" cy="553158"/>
          </a:xfrm>
          <a:prstGeom prst="rect">
            <a:avLst/>
          </a:prstGeom>
        </p:spPr>
      </p:pic>
      <p:pic>
        <p:nvPicPr>
          <p:cNvPr id="15" name="Picture 14"/>
          <p:cNvPicPr>
            <a:picLocks noChangeAspect="1"/>
          </p:cNvPicPr>
          <p:nvPr/>
        </p:nvPicPr>
        <p:blipFill>
          <a:blip r:embed="rId4"/>
          <a:stretch>
            <a:fillRect/>
          </a:stretch>
        </p:blipFill>
        <p:spPr>
          <a:xfrm>
            <a:off x="6952315" y="1402528"/>
            <a:ext cx="572499" cy="399116"/>
          </a:xfrm>
          <a:prstGeom prst="rect">
            <a:avLst/>
          </a:prstGeom>
        </p:spPr>
      </p:pic>
      <p:pic>
        <p:nvPicPr>
          <p:cNvPr id="16" name="Picture 15"/>
          <p:cNvPicPr>
            <a:picLocks noChangeAspect="1"/>
          </p:cNvPicPr>
          <p:nvPr/>
        </p:nvPicPr>
        <p:blipFill>
          <a:blip r:embed="rId5"/>
          <a:stretch>
            <a:fillRect/>
          </a:stretch>
        </p:blipFill>
        <p:spPr>
          <a:xfrm>
            <a:off x="9821653" y="1376448"/>
            <a:ext cx="543706" cy="451276"/>
          </a:xfrm>
          <a:prstGeom prst="rect">
            <a:avLst/>
          </a:prstGeom>
        </p:spPr>
      </p:pic>
      <p:pic>
        <p:nvPicPr>
          <p:cNvPr id="17" name="Picture 16"/>
          <p:cNvPicPr>
            <a:picLocks noChangeAspect="1"/>
          </p:cNvPicPr>
          <p:nvPr/>
        </p:nvPicPr>
        <p:blipFill>
          <a:blip r:embed="rId6"/>
          <a:stretch>
            <a:fillRect/>
          </a:stretch>
        </p:blipFill>
        <p:spPr>
          <a:xfrm>
            <a:off x="6994580" y="4028441"/>
            <a:ext cx="487967" cy="333547"/>
          </a:xfrm>
          <a:prstGeom prst="rect">
            <a:avLst/>
          </a:prstGeom>
        </p:spPr>
      </p:pic>
      <p:pic>
        <p:nvPicPr>
          <p:cNvPr id="19" name="Picture 18"/>
          <p:cNvPicPr>
            <a:picLocks noChangeAspect="1"/>
          </p:cNvPicPr>
          <p:nvPr/>
        </p:nvPicPr>
        <p:blipFill>
          <a:blip r:embed="rId7"/>
          <a:stretch>
            <a:fillRect/>
          </a:stretch>
        </p:blipFill>
        <p:spPr>
          <a:xfrm>
            <a:off x="4135788" y="4023445"/>
            <a:ext cx="495670" cy="354744"/>
          </a:xfrm>
          <a:prstGeom prst="rect">
            <a:avLst/>
          </a:prstGeom>
        </p:spPr>
      </p:pic>
      <p:sp>
        <p:nvSpPr>
          <p:cNvPr id="22" name="TextBox 21"/>
          <p:cNvSpPr txBox="1"/>
          <p:nvPr/>
        </p:nvSpPr>
        <p:spPr>
          <a:xfrm>
            <a:off x="1874554" y="1396837"/>
            <a:ext cx="2171877" cy="430887"/>
          </a:xfrm>
          <a:prstGeom prst="rect">
            <a:avLst/>
          </a:prstGeom>
          <a:noFill/>
        </p:spPr>
        <p:txBody>
          <a:bodyPr wrap="square" lIns="0" tIns="0" rIns="0" bIns="0" rtlCol="0">
            <a:spAutoFit/>
          </a:bodyPr>
          <a:lstStyle/>
          <a:p>
            <a:pPr algn="ctr"/>
            <a:r>
              <a:rPr lang="en-US" sz="1400" b="1" dirty="0"/>
              <a:t>3M RPM Series 290 </a:t>
            </a:r>
          </a:p>
          <a:p>
            <a:pPr algn="ctr"/>
            <a:r>
              <a:rPr lang="en-US" sz="1400" b="1" dirty="0"/>
              <a:t>Base Model</a:t>
            </a:r>
          </a:p>
        </p:txBody>
      </p:sp>
      <p:sp>
        <p:nvSpPr>
          <p:cNvPr id="23" name="TextBox 22"/>
          <p:cNvSpPr txBox="1"/>
          <p:nvPr/>
        </p:nvSpPr>
        <p:spPr>
          <a:xfrm>
            <a:off x="4741942" y="1491083"/>
            <a:ext cx="2171877" cy="215444"/>
          </a:xfrm>
          <a:prstGeom prst="rect">
            <a:avLst/>
          </a:prstGeom>
          <a:noFill/>
        </p:spPr>
        <p:txBody>
          <a:bodyPr wrap="square" lIns="0" tIns="0" rIns="0" bIns="0" rtlCol="0">
            <a:spAutoFit/>
          </a:bodyPr>
          <a:lstStyle/>
          <a:p>
            <a:pPr algn="ctr"/>
            <a:r>
              <a:rPr lang="en-US" sz="1400" b="1" dirty="0"/>
              <a:t>3M RPM Series 290 PSA</a:t>
            </a:r>
          </a:p>
        </p:txBody>
      </p:sp>
      <p:sp>
        <p:nvSpPr>
          <p:cNvPr id="24" name="TextBox 23"/>
          <p:cNvSpPr txBox="1"/>
          <p:nvPr/>
        </p:nvSpPr>
        <p:spPr>
          <a:xfrm>
            <a:off x="1874554" y="4097361"/>
            <a:ext cx="2171877" cy="215444"/>
          </a:xfrm>
          <a:prstGeom prst="rect">
            <a:avLst/>
          </a:prstGeom>
          <a:noFill/>
        </p:spPr>
        <p:txBody>
          <a:bodyPr wrap="square" lIns="0" tIns="0" rIns="0" bIns="0" rtlCol="0">
            <a:spAutoFit/>
          </a:bodyPr>
          <a:lstStyle/>
          <a:p>
            <a:pPr algn="ctr"/>
            <a:r>
              <a:rPr lang="en-US" sz="1400" b="1" dirty="0"/>
              <a:t>3M RPM Series 190</a:t>
            </a:r>
          </a:p>
        </p:txBody>
      </p:sp>
      <p:sp>
        <p:nvSpPr>
          <p:cNvPr id="25" name="TextBox 24"/>
          <p:cNvSpPr txBox="1"/>
          <p:nvPr/>
        </p:nvSpPr>
        <p:spPr>
          <a:xfrm>
            <a:off x="7580097" y="1413806"/>
            <a:ext cx="2171877" cy="430887"/>
          </a:xfrm>
          <a:prstGeom prst="rect">
            <a:avLst/>
          </a:prstGeom>
          <a:noFill/>
        </p:spPr>
        <p:txBody>
          <a:bodyPr wrap="square" lIns="0" tIns="0" rIns="0" bIns="0" rtlCol="0">
            <a:spAutoFit/>
          </a:bodyPr>
          <a:lstStyle/>
          <a:p>
            <a:pPr algn="ctr"/>
            <a:r>
              <a:rPr lang="en-US" sz="1400" b="1" dirty="0"/>
              <a:t>3M RPM Series 290 </a:t>
            </a:r>
          </a:p>
          <a:p>
            <a:pPr algn="ctr"/>
            <a:r>
              <a:rPr lang="en-US" sz="1400" b="1" dirty="0"/>
              <a:t>Single Spike</a:t>
            </a:r>
          </a:p>
        </p:txBody>
      </p:sp>
      <p:sp>
        <p:nvSpPr>
          <p:cNvPr id="30" name="TextBox 29"/>
          <p:cNvSpPr txBox="1"/>
          <p:nvPr/>
        </p:nvSpPr>
        <p:spPr>
          <a:xfrm>
            <a:off x="1963567" y="1905663"/>
            <a:ext cx="2778373" cy="1723549"/>
          </a:xfrm>
          <a:prstGeom prst="rect">
            <a:avLst/>
          </a:prstGeom>
          <a:noFill/>
        </p:spPr>
        <p:txBody>
          <a:bodyPr wrap="square" lIns="0" tIns="0" rIns="0" bIns="0" rtlCol="0">
            <a:spAutoFit/>
          </a:bodyPr>
          <a:lstStyle/>
          <a:p>
            <a:r>
              <a:rPr lang="en-US" sz="1200" dirty="0"/>
              <a:t>Product Features:</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Diamond Grade™ microprismatic optics</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Impact resistant polycarbonate body/lens</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Finger grips for easy application</a:t>
            </a:r>
          </a:p>
          <a:p>
            <a:endParaRPr lang="en-US" sz="1100" dirty="0">
              <a:latin typeface="3M Circular TT Light" panose="020B0404020101020102" pitchFamily="34" charset="0"/>
              <a:cs typeface="3M Circular TT Light" panose="020B0404020101020102" pitchFamily="34" charset="0"/>
            </a:endParaRPr>
          </a:p>
          <a:p>
            <a:r>
              <a:rPr lang="en-US" sz="1200" dirty="0">
                <a:cs typeface="3M Circular TT Light" panose="020B0404020101020102" pitchFamily="34" charset="0"/>
              </a:rPr>
              <a:t>Available Options:</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Body: white, yellow, red, green, blue</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Lens: white, yellow, red, green, blue</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One-Way or Two-Way</a:t>
            </a:r>
          </a:p>
          <a:p>
            <a:endParaRPr lang="en-US" sz="1100" dirty="0">
              <a:latin typeface="3M Circular TT Light" panose="020B0404020101020102" pitchFamily="34" charset="0"/>
              <a:cs typeface="3M Circular TT Light" panose="020B0404020101020102" pitchFamily="34" charset="0"/>
            </a:endParaRPr>
          </a:p>
        </p:txBody>
      </p:sp>
      <p:sp>
        <p:nvSpPr>
          <p:cNvPr id="31" name="TextBox 30"/>
          <p:cNvSpPr txBox="1"/>
          <p:nvPr/>
        </p:nvSpPr>
        <p:spPr>
          <a:xfrm>
            <a:off x="4796203" y="1905663"/>
            <a:ext cx="2778373" cy="1723549"/>
          </a:xfrm>
          <a:prstGeom prst="rect">
            <a:avLst/>
          </a:prstGeom>
          <a:noFill/>
        </p:spPr>
        <p:txBody>
          <a:bodyPr wrap="square" lIns="0" tIns="0" rIns="0" bIns="0" rtlCol="0">
            <a:spAutoFit/>
          </a:bodyPr>
          <a:lstStyle/>
          <a:p>
            <a:r>
              <a:rPr lang="en-US" sz="1200" dirty="0"/>
              <a:t>Additional Product Features:</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Pressure Sensitive Adhesive pad for</a:t>
            </a:r>
            <a:r>
              <a:rPr lang="en-US" sz="1100" dirty="0">
                <a:solidFill>
                  <a:srgbClr val="FF0000"/>
                </a:solidFill>
                <a:latin typeface="3M Circular TT Light" panose="020B0404020101020102" pitchFamily="34" charset="0"/>
                <a:cs typeface="3M Circular TT Light" panose="020B0404020101020102" pitchFamily="34" charset="0"/>
              </a:rPr>
              <a:t> </a:t>
            </a:r>
            <a:r>
              <a:rPr lang="en-US" sz="1100" dirty="0" smtClean="0">
                <a:latin typeface="3M Circular TT Light" panose="020B0404020101020102" pitchFamily="34" charset="0"/>
                <a:cs typeface="3M Circular TT Light" panose="020B0404020101020102" pitchFamily="34" charset="0"/>
              </a:rPr>
              <a:t>easy </a:t>
            </a:r>
            <a:r>
              <a:rPr lang="en-US" sz="1100" dirty="0">
                <a:latin typeface="3M Circular TT Light" panose="020B0404020101020102" pitchFamily="34" charset="0"/>
                <a:cs typeface="3M Circular TT Light" panose="020B0404020101020102" pitchFamily="34" charset="0"/>
              </a:rPr>
              <a:t>application and removal ideal for work zones</a:t>
            </a:r>
          </a:p>
          <a:p>
            <a:endParaRPr lang="en-US" sz="1100" dirty="0">
              <a:latin typeface="3M Circular TT Light" panose="020B0404020101020102" pitchFamily="34" charset="0"/>
              <a:cs typeface="3M Circular TT Light" panose="020B0404020101020102" pitchFamily="34" charset="0"/>
            </a:endParaRPr>
          </a:p>
          <a:p>
            <a:r>
              <a:rPr lang="en-US" sz="1200" dirty="0">
                <a:cs typeface="3M Circular TT Light" panose="020B0404020101020102" pitchFamily="34" charset="0"/>
              </a:rPr>
              <a:t>Available Options:</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Body: white, yellow, red, green, blue</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Lens: white, yellow, red, green, blue</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One-Way or Two-Way</a:t>
            </a:r>
          </a:p>
          <a:p>
            <a:endParaRPr lang="en-US" sz="1100" dirty="0">
              <a:latin typeface="3M Circular TT Light" panose="020B0404020101020102" pitchFamily="34" charset="0"/>
              <a:cs typeface="3M Circular TT Light" panose="020B0404020101020102" pitchFamily="34" charset="0"/>
            </a:endParaRPr>
          </a:p>
        </p:txBody>
      </p:sp>
      <p:sp>
        <p:nvSpPr>
          <p:cNvPr id="32" name="TextBox 31"/>
          <p:cNvSpPr txBox="1"/>
          <p:nvPr/>
        </p:nvSpPr>
        <p:spPr>
          <a:xfrm>
            <a:off x="7640821" y="1905663"/>
            <a:ext cx="2778373" cy="1723549"/>
          </a:xfrm>
          <a:prstGeom prst="rect">
            <a:avLst/>
          </a:prstGeom>
          <a:noFill/>
        </p:spPr>
        <p:txBody>
          <a:bodyPr wrap="square" lIns="0" tIns="0" rIns="0" bIns="0" rtlCol="0">
            <a:spAutoFit/>
          </a:bodyPr>
          <a:lstStyle/>
          <a:p>
            <a:r>
              <a:rPr lang="en-US" sz="1200" dirty="0"/>
              <a:t>Additional Product Features:</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Single steel spike for </a:t>
            </a:r>
            <a:r>
              <a:rPr lang="en-US" sz="1100" dirty="0" smtClean="0">
                <a:latin typeface="3M Circular TT Light" panose="020B0404020101020102" pitchFamily="34" charset="0"/>
                <a:cs typeface="3M Circular TT Light" panose="020B0404020101020102" pitchFamily="34" charset="0"/>
              </a:rPr>
              <a:t>superb</a:t>
            </a:r>
            <a:r>
              <a:rPr lang="en-US" sz="1100" dirty="0" smtClean="0">
                <a:solidFill>
                  <a:srgbClr val="FF0000"/>
                </a:solidFill>
                <a:latin typeface="3M Circular TT Light" panose="020B0404020101020102" pitchFamily="34" charset="0"/>
                <a:cs typeface="3M Circular TT Light" panose="020B0404020101020102" pitchFamily="34" charset="0"/>
              </a:rPr>
              <a:t> </a:t>
            </a:r>
            <a:r>
              <a:rPr lang="en-US" sz="1100" dirty="0">
                <a:latin typeface="3M Circular TT Light" panose="020B0404020101020102" pitchFamily="34" charset="0"/>
                <a:cs typeface="3M Circular TT Light" panose="020B0404020101020102" pitchFamily="34" charset="0"/>
              </a:rPr>
              <a:t>adherence to road surface and durability </a:t>
            </a:r>
          </a:p>
          <a:p>
            <a:endParaRPr lang="en-US" sz="1100" dirty="0">
              <a:latin typeface="3M Circular TT Light" panose="020B0404020101020102" pitchFamily="34" charset="0"/>
              <a:cs typeface="3M Circular TT Light" panose="020B0404020101020102" pitchFamily="34" charset="0"/>
            </a:endParaRPr>
          </a:p>
          <a:p>
            <a:endParaRPr lang="en-US" sz="1100" dirty="0">
              <a:latin typeface="3M Circular TT Light" panose="020B0404020101020102" pitchFamily="34" charset="0"/>
              <a:cs typeface="3M Circular TT Light" panose="020B0404020101020102" pitchFamily="34" charset="0"/>
            </a:endParaRPr>
          </a:p>
          <a:p>
            <a:r>
              <a:rPr lang="en-US" sz="1200" dirty="0">
                <a:cs typeface="3M Circular TT Light" panose="020B0404020101020102" pitchFamily="34" charset="0"/>
              </a:rPr>
              <a:t>Available Options:</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Body: white, yellow, red</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Lens: white, yellow, red</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One-Way or Two-Way</a:t>
            </a:r>
          </a:p>
          <a:p>
            <a:endParaRPr lang="en-US" sz="1100" dirty="0">
              <a:latin typeface="3M Circular TT Light" panose="020B0404020101020102" pitchFamily="34" charset="0"/>
              <a:cs typeface="3M Circular TT Light" panose="020B0404020101020102" pitchFamily="34" charset="0"/>
            </a:endParaRPr>
          </a:p>
        </p:txBody>
      </p:sp>
      <p:sp>
        <p:nvSpPr>
          <p:cNvPr id="35" name="TextBox 34"/>
          <p:cNvSpPr txBox="1"/>
          <p:nvPr/>
        </p:nvSpPr>
        <p:spPr>
          <a:xfrm>
            <a:off x="1963566" y="4495551"/>
            <a:ext cx="2778373" cy="1723549"/>
          </a:xfrm>
          <a:prstGeom prst="rect">
            <a:avLst/>
          </a:prstGeom>
          <a:noFill/>
        </p:spPr>
        <p:txBody>
          <a:bodyPr wrap="square" lIns="0" tIns="0" rIns="0" bIns="0" rtlCol="0">
            <a:spAutoFit/>
          </a:bodyPr>
          <a:lstStyle/>
          <a:p>
            <a:r>
              <a:rPr lang="en-US" sz="1200" dirty="0"/>
              <a:t>Additional Product Features:</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Able to insert into snowplowable metal casting</a:t>
            </a:r>
          </a:p>
          <a:p>
            <a:endParaRPr lang="en-US" sz="1100" dirty="0">
              <a:latin typeface="3M Circular TT Light" panose="020B0404020101020102" pitchFamily="34" charset="0"/>
              <a:cs typeface="3M Circular TT Light" panose="020B0404020101020102" pitchFamily="34" charset="0"/>
            </a:endParaRPr>
          </a:p>
          <a:p>
            <a:endParaRPr lang="en-US" sz="1100" dirty="0">
              <a:latin typeface="3M Circular TT Light" panose="020B0404020101020102" pitchFamily="34" charset="0"/>
              <a:cs typeface="3M Circular TT Light" panose="020B0404020101020102" pitchFamily="34" charset="0"/>
            </a:endParaRPr>
          </a:p>
          <a:p>
            <a:r>
              <a:rPr lang="en-US" sz="1200" dirty="0">
                <a:cs typeface="3M Circular TT Light" panose="020B0404020101020102" pitchFamily="34" charset="0"/>
              </a:rPr>
              <a:t>Available Options:</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Body: Black</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Lens: white, yellow, red, blue</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One-Way or Two-Way</a:t>
            </a:r>
          </a:p>
          <a:p>
            <a:endParaRPr lang="en-US" sz="1100" dirty="0">
              <a:latin typeface="3M Circular TT Light" panose="020B0404020101020102" pitchFamily="34" charset="0"/>
              <a:cs typeface="3M Circular TT Light" panose="020B0404020101020102" pitchFamily="34" charset="0"/>
            </a:endParaRPr>
          </a:p>
        </p:txBody>
      </p:sp>
      <p:sp>
        <p:nvSpPr>
          <p:cNvPr id="34" name="Text Placeholder 3"/>
          <p:cNvSpPr>
            <a:spLocks noGrp="1"/>
          </p:cNvSpPr>
          <p:nvPr>
            <p:ph type="body" sz="quarter" idx="10"/>
          </p:nvPr>
        </p:nvSpPr>
        <p:spPr>
          <a:xfrm>
            <a:off x="381000" y="841248"/>
            <a:ext cx="11430000" cy="365760"/>
          </a:xfrm>
        </p:spPr>
        <p:txBody>
          <a:bodyPr/>
          <a:lstStyle/>
          <a:p>
            <a:r>
              <a:rPr lang="en-US" sz="2000" dirty="0">
                <a:solidFill>
                  <a:schemeClr val="tx1">
                    <a:lumMod val="50000"/>
                    <a:lumOff val="50000"/>
                  </a:schemeClr>
                </a:solidFill>
              </a:rPr>
              <a:t>3M has a complete portfolio of product format and color choices for any application</a:t>
            </a:r>
          </a:p>
        </p:txBody>
      </p:sp>
      <p:sp>
        <p:nvSpPr>
          <p:cNvPr id="39" name="TextBox 38"/>
          <p:cNvSpPr txBox="1"/>
          <p:nvPr/>
        </p:nvSpPr>
        <p:spPr>
          <a:xfrm>
            <a:off x="4765480" y="3947302"/>
            <a:ext cx="2171877" cy="430887"/>
          </a:xfrm>
          <a:prstGeom prst="rect">
            <a:avLst/>
          </a:prstGeom>
          <a:noFill/>
        </p:spPr>
        <p:txBody>
          <a:bodyPr wrap="square" lIns="0" tIns="0" rIns="0" bIns="0" rtlCol="0">
            <a:spAutoFit/>
          </a:bodyPr>
          <a:lstStyle/>
          <a:p>
            <a:pPr algn="ctr"/>
            <a:r>
              <a:rPr lang="en-US" sz="1400" b="1" dirty="0"/>
              <a:t>3M RPM Series 290 </a:t>
            </a:r>
          </a:p>
          <a:p>
            <a:pPr algn="ctr"/>
            <a:r>
              <a:rPr lang="en-US" sz="1400" b="1" dirty="0"/>
              <a:t>Dual Spike</a:t>
            </a:r>
          </a:p>
        </p:txBody>
      </p:sp>
      <p:sp>
        <p:nvSpPr>
          <p:cNvPr id="40" name="TextBox 39"/>
          <p:cNvSpPr txBox="1"/>
          <p:nvPr/>
        </p:nvSpPr>
        <p:spPr>
          <a:xfrm>
            <a:off x="4815881" y="4439159"/>
            <a:ext cx="2778373" cy="1723549"/>
          </a:xfrm>
          <a:prstGeom prst="rect">
            <a:avLst/>
          </a:prstGeom>
          <a:noFill/>
        </p:spPr>
        <p:txBody>
          <a:bodyPr wrap="square" lIns="0" tIns="0" rIns="0" bIns="0" rtlCol="0">
            <a:spAutoFit/>
          </a:bodyPr>
          <a:lstStyle/>
          <a:p>
            <a:r>
              <a:rPr lang="en-US" sz="1200" dirty="0"/>
              <a:t>Additional Product Features:</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2 polycarbonate spikes for</a:t>
            </a:r>
            <a:r>
              <a:rPr lang="en-US" sz="1100" dirty="0">
                <a:solidFill>
                  <a:srgbClr val="FF0000"/>
                </a:solidFill>
                <a:latin typeface="3M Circular TT Light" panose="020B0404020101020102" pitchFamily="34" charset="0"/>
                <a:cs typeface="3M Circular TT Light" panose="020B0404020101020102" pitchFamily="34" charset="0"/>
              </a:rPr>
              <a:t> </a:t>
            </a:r>
            <a:r>
              <a:rPr lang="en-US" sz="1100" dirty="0">
                <a:latin typeface="3M Circular TT Light" panose="020B0404020101020102" pitchFamily="34" charset="0"/>
                <a:cs typeface="3M Circular TT Light" panose="020B0404020101020102" pitchFamily="34" charset="0"/>
              </a:rPr>
              <a:t>strong </a:t>
            </a:r>
            <a:r>
              <a:rPr lang="en-US" sz="1100" dirty="0" smtClean="0">
                <a:latin typeface="3M Circular TT Light" panose="020B0404020101020102" pitchFamily="34" charset="0"/>
                <a:cs typeface="3M Circular TT Light" panose="020B0404020101020102" pitchFamily="34" charset="0"/>
              </a:rPr>
              <a:t>adherence </a:t>
            </a:r>
            <a:r>
              <a:rPr lang="en-US" sz="1100" dirty="0">
                <a:latin typeface="3M Circular TT Light" panose="020B0404020101020102" pitchFamily="34" charset="0"/>
                <a:cs typeface="3M Circular TT Light" panose="020B0404020101020102" pitchFamily="34" charset="0"/>
              </a:rPr>
              <a:t>to road surface and durability </a:t>
            </a:r>
          </a:p>
          <a:p>
            <a:endParaRPr lang="en-US" sz="1100" dirty="0">
              <a:latin typeface="3M Circular TT Light" panose="020B0404020101020102" pitchFamily="34" charset="0"/>
              <a:cs typeface="3M Circular TT Light" panose="020B0404020101020102" pitchFamily="34" charset="0"/>
            </a:endParaRPr>
          </a:p>
          <a:p>
            <a:endParaRPr lang="en-US" sz="1100" dirty="0">
              <a:latin typeface="3M Circular TT Light" panose="020B0404020101020102" pitchFamily="34" charset="0"/>
              <a:cs typeface="3M Circular TT Light" panose="020B0404020101020102" pitchFamily="34" charset="0"/>
            </a:endParaRPr>
          </a:p>
          <a:p>
            <a:r>
              <a:rPr lang="en-US" sz="1200" dirty="0">
                <a:cs typeface="3M Circular TT Light" panose="020B0404020101020102" pitchFamily="34" charset="0"/>
              </a:rPr>
              <a:t>Available Options:</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Body: white, yellow, red</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Lens: white, yellow, red</a:t>
            </a:r>
          </a:p>
          <a:p>
            <a:pPr marL="171450" indent="-171450">
              <a:buFont typeface="Wingdings" panose="05000000000000000000" pitchFamily="2" charset="2"/>
              <a:buChar char="§"/>
            </a:pPr>
            <a:r>
              <a:rPr lang="en-US" sz="1100" dirty="0">
                <a:latin typeface="3M Circular TT Light" panose="020B0404020101020102" pitchFamily="34" charset="0"/>
                <a:cs typeface="3M Circular TT Light" panose="020B0404020101020102" pitchFamily="34" charset="0"/>
              </a:rPr>
              <a:t>One-Way or Two-Way</a:t>
            </a:r>
          </a:p>
          <a:p>
            <a:endParaRPr lang="en-US" sz="1100" dirty="0">
              <a:latin typeface="3M Circular TT Light" panose="020B0404020101020102" pitchFamily="34" charset="0"/>
              <a:cs typeface="3M Circular TT Light" panose="020B0404020101020102" pitchFamily="34" charset="0"/>
            </a:endParaRPr>
          </a:p>
        </p:txBody>
      </p:sp>
      <p:pic>
        <p:nvPicPr>
          <p:cNvPr id="3" name="Picture 2"/>
          <p:cNvPicPr>
            <a:picLocks noChangeAspect="1"/>
          </p:cNvPicPr>
          <p:nvPr/>
        </p:nvPicPr>
        <p:blipFill>
          <a:blip r:embed="rId8"/>
          <a:stretch>
            <a:fillRect/>
          </a:stretch>
        </p:blipFill>
        <p:spPr>
          <a:xfrm>
            <a:off x="7683611" y="4608620"/>
            <a:ext cx="956955" cy="686071"/>
          </a:xfrm>
          <a:prstGeom prst="rect">
            <a:avLst/>
          </a:prstGeom>
        </p:spPr>
      </p:pic>
      <p:sp>
        <p:nvSpPr>
          <p:cNvPr id="28" name="TextBox 27"/>
          <p:cNvSpPr txBox="1"/>
          <p:nvPr/>
        </p:nvSpPr>
        <p:spPr>
          <a:xfrm>
            <a:off x="8020559" y="4068845"/>
            <a:ext cx="2171877" cy="215444"/>
          </a:xfrm>
          <a:prstGeom prst="rect">
            <a:avLst/>
          </a:prstGeom>
          <a:noFill/>
        </p:spPr>
        <p:txBody>
          <a:bodyPr wrap="square" lIns="0" tIns="0" rIns="0" bIns="0" rtlCol="0">
            <a:spAutoFit/>
          </a:bodyPr>
          <a:lstStyle/>
          <a:p>
            <a:pPr algn="ctr"/>
            <a:r>
              <a:rPr lang="en-US" sz="1400" b="1" dirty="0"/>
              <a:t>3M RPM Colors </a:t>
            </a:r>
          </a:p>
        </p:txBody>
      </p:sp>
      <p:sp>
        <p:nvSpPr>
          <p:cNvPr id="29" name="TextBox 28"/>
          <p:cNvSpPr txBox="1"/>
          <p:nvPr/>
        </p:nvSpPr>
        <p:spPr>
          <a:xfrm>
            <a:off x="8704320" y="4697739"/>
            <a:ext cx="1661040" cy="507831"/>
          </a:xfrm>
          <a:prstGeom prst="rect">
            <a:avLst/>
          </a:prstGeom>
          <a:noFill/>
        </p:spPr>
        <p:txBody>
          <a:bodyPr wrap="square" lIns="0" tIns="0" rIns="0" bIns="0" rtlCol="0">
            <a:spAutoFit/>
          </a:bodyPr>
          <a:lstStyle/>
          <a:p>
            <a:r>
              <a:rPr lang="en-US" sz="1100" dirty="0">
                <a:latin typeface="3M Circular TT Light" panose="020B0404020101020102" pitchFamily="34" charset="0"/>
                <a:cs typeface="3M Circular TT Light" panose="020B0404020101020102" pitchFamily="34" charset="0"/>
              </a:rPr>
              <a:t>White, yellow, red, green, blue body/lens</a:t>
            </a:r>
          </a:p>
          <a:p>
            <a:r>
              <a:rPr lang="en-US" sz="1100" dirty="0">
                <a:latin typeface="3M Circular TT Light" panose="020B0404020101020102" pitchFamily="34" charset="0"/>
                <a:cs typeface="3M Circular TT Light" panose="020B0404020101020102" pitchFamily="34" charset="0"/>
              </a:rPr>
              <a:t>One-way or two way</a:t>
            </a:r>
          </a:p>
        </p:txBody>
      </p:sp>
      <p:sp>
        <p:nvSpPr>
          <p:cNvPr id="33" name="TextBox 32"/>
          <p:cNvSpPr txBox="1"/>
          <p:nvPr/>
        </p:nvSpPr>
        <p:spPr>
          <a:xfrm>
            <a:off x="8704320" y="5677093"/>
            <a:ext cx="1661040" cy="507831"/>
          </a:xfrm>
          <a:prstGeom prst="rect">
            <a:avLst/>
          </a:prstGeom>
          <a:noFill/>
        </p:spPr>
        <p:txBody>
          <a:bodyPr wrap="square" lIns="0" tIns="0" rIns="0" bIns="0" rtlCol="0">
            <a:spAutoFit/>
          </a:bodyPr>
          <a:lstStyle/>
          <a:p>
            <a:r>
              <a:rPr lang="en-US" sz="1100" dirty="0">
                <a:latin typeface="3M Circular TT Light" panose="020B0404020101020102" pitchFamily="34" charset="0"/>
                <a:cs typeface="3M Circular TT Light" panose="020B0404020101020102" pitchFamily="34" charset="0"/>
              </a:rPr>
              <a:t>White, yellow, red, blue body/lens</a:t>
            </a:r>
          </a:p>
          <a:p>
            <a:r>
              <a:rPr lang="en-US" sz="1100" dirty="0">
                <a:latin typeface="3M Circular TT Light" panose="020B0404020101020102" pitchFamily="34" charset="0"/>
                <a:cs typeface="3M Circular TT Light" panose="020B0404020101020102" pitchFamily="34" charset="0"/>
              </a:rPr>
              <a:t>One-way or two way</a:t>
            </a:r>
          </a:p>
        </p:txBody>
      </p:sp>
      <p:pic>
        <p:nvPicPr>
          <p:cNvPr id="4" name="Picture 3"/>
          <p:cNvPicPr>
            <a:picLocks noChangeAspect="1"/>
          </p:cNvPicPr>
          <p:nvPr/>
        </p:nvPicPr>
        <p:blipFill>
          <a:blip r:embed="rId9"/>
          <a:stretch>
            <a:fillRect/>
          </a:stretch>
        </p:blipFill>
        <p:spPr>
          <a:xfrm>
            <a:off x="7686294" y="5637727"/>
            <a:ext cx="954272" cy="686070"/>
          </a:xfrm>
          <a:prstGeom prst="rect">
            <a:avLst/>
          </a:prstGeom>
        </p:spPr>
      </p:pic>
      <p:sp>
        <p:nvSpPr>
          <p:cNvPr id="37" name="TextBox 36"/>
          <p:cNvSpPr txBox="1"/>
          <p:nvPr/>
        </p:nvSpPr>
        <p:spPr>
          <a:xfrm>
            <a:off x="7703109" y="4400144"/>
            <a:ext cx="917958" cy="219973"/>
          </a:xfrm>
          <a:prstGeom prst="rect">
            <a:avLst/>
          </a:prstGeom>
          <a:noFill/>
        </p:spPr>
        <p:txBody>
          <a:bodyPr wrap="square" lIns="0" tIns="0" rIns="0" bIns="0" rtlCol="0">
            <a:spAutoFit/>
          </a:bodyPr>
          <a:lstStyle/>
          <a:p>
            <a:pPr algn="ctr"/>
            <a:r>
              <a:rPr lang="en-US" sz="1400" b="1" dirty="0"/>
              <a:t>Series 290</a:t>
            </a:r>
          </a:p>
        </p:txBody>
      </p:sp>
      <p:sp>
        <p:nvSpPr>
          <p:cNvPr id="38" name="TextBox 37"/>
          <p:cNvSpPr txBox="1"/>
          <p:nvPr/>
        </p:nvSpPr>
        <p:spPr>
          <a:xfrm>
            <a:off x="7703109" y="5407539"/>
            <a:ext cx="917958" cy="219973"/>
          </a:xfrm>
          <a:prstGeom prst="rect">
            <a:avLst/>
          </a:prstGeom>
          <a:noFill/>
        </p:spPr>
        <p:txBody>
          <a:bodyPr wrap="square" lIns="0" tIns="0" rIns="0" bIns="0" rtlCol="0">
            <a:spAutoFit/>
          </a:bodyPr>
          <a:lstStyle/>
          <a:p>
            <a:pPr algn="ctr"/>
            <a:r>
              <a:rPr lang="en-US" sz="1400" b="1" dirty="0"/>
              <a:t>Series 190</a:t>
            </a:r>
          </a:p>
        </p:txBody>
      </p:sp>
    </p:spTree>
    <p:extLst>
      <p:ext uri="{BB962C8B-B14F-4D97-AF65-F5344CB8AC3E}">
        <p14:creationId xmlns:p14="http://schemas.microsoft.com/office/powerpoint/2010/main" val="2433084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ZnatpdRTnC3DpJhuZbm3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dhT7sy0QQPaslj5oHHdlQ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hT7sy0QQPaslj5oHHdlQ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fF_HdFvTQaDHrk3utH60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Evj5uRmRw.AYRxEmYsCp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7e8ZRaJ0SVC3SBVB0fCuN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5vkG7.U1SBiqrYBflWr_x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LbfrsV3.RFS1X4TXirC5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nkWsllARRmbNbxBoTTU0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MPy7B2UIQaCZSKOVevWu0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UMwYNdamRDSziq_K9eEK4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TrKpMf_R5OD_yP6kt9Gc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FGQcwspmTXavVmxUncgDK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TMRplQXkQ6SsBqPDlQins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8lSo8GcUT3yVaMyKNwdyg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jMXuXGw2SwKnfo7O8gvG3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uM3ElvbERcuqcBBaB4Z3M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2H7TO.4RRVyGCusd4uP9L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n.J4.EnNR3.W1AigY8Eh1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586D4vcWSm2XhcnsBv.RA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M.2_tRuQfKqWGc9dchhf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iJQnr3FQSv6KgxFSixH_B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itLe6XcaQTuyfiZIkTp62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lezgUxMpTZ2ihAb6rmul5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_YOvip4vRa6gax50LgsR_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m3pzKG5QTaONlMftrbwD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LdjfQp_zTciFcTVS7hQyM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dhT7sy0QQPaslj5oHHdl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dhT7sy0QQPaslj5oHHdlQ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AvTgUZ5iTM2j0Iu_tO3k9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jyLWzUsRRSJwSkQGVL3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7cpB4pqVS6uy1XAp0e9m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qhyo8kxT3GialoWl24nA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_Nn.OTYT9OmXAlV_7WJu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UORtt6FRDOjNUDL9cqo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92yrtBVuRiex17.75JLXI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qxR0OzORnGPDIiKtMVZL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41e9wiQSy2ZXxSrxrjvO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4FKm5INhRuex936J2zpiS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knDrEmcTiaxlEaUge8.N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m5TQYiHR_2n62BGQEeYp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N.otHx9RJiYnMfvJUz8F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SchGMe0TYu1wf6kpvJtO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rbXsL35qSD6YJM1DAo7XE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7p95VpYQqWbOcEZHlD0U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PI1hxOITSaKr.3qy9NkX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1jo_mtLRZqUvtN.fPdL1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84ms6xfSQLCiy0zQMPVVk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lcz6x9TomK3qjjyueqZ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gRZjaGUTQaW_M5FWBnIhx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IQy35hPQiCJyBNFzSWMt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M81_aWVUSSiblYtaS_e21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0zWukO4JSl2YbLL0tcBUl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1xOvG7bYTXCitqpoiVddN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HFb8TCtQW6p1HRug.Lwq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k0XfKOZRJurO60fxzz3T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NohDfmdwR8GtuJ.jTlmM2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8OOjluw.Q_m7rk_1aB2p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4SjaIZsTmKB1.VLkVJyZ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6pXQN4WlQAq0Vvgs3cogd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btw.Iz9RQCLivft2nmCi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0MLE8ceMTHCbr250TVOi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yb2UVq2SHqD6fEGIibJz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zRY51TqKQA.TEcsFLXADA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XOKuT5vaS86GXru1yxBFv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jLJXdNKSMKAuFbRTylB7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pyv4CH1KSjmXrnj21Qgb9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OS27FBxSV2IS3.1jO7IE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qg1Y4TGS42Etn5ax.IsR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xNIE1dMTyCa9bePr__Mc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yuaj1CIRTkytxWGHqDadL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LBtKa3BQyyIUey_1AsC_g"/>
</p:tagLst>
</file>

<file path=ppt/theme/theme1.xml><?xml version="1.0" encoding="utf-8"?>
<a:theme xmlns:a="http://schemas.openxmlformats.org/drawingml/2006/main" name="150209_3M_PPTTemplate_v7">
  <a:themeElements>
    <a:clrScheme name="TRIFECTA 3 LtGrn_Grn_LtBlue-A">
      <a:dk1>
        <a:sysClr val="windowText" lastClr="000000"/>
      </a:dk1>
      <a:lt1>
        <a:srgbClr val="FFFFFF"/>
      </a:lt1>
      <a:dk2>
        <a:srgbClr val="A8A8A8"/>
      </a:dk2>
      <a:lt2>
        <a:srgbClr val="595959"/>
      </a:lt2>
      <a:accent1>
        <a:srgbClr val="AAE600"/>
      </a:accent1>
      <a:accent2>
        <a:srgbClr val="00B432"/>
      </a:accent2>
      <a:accent3>
        <a:srgbClr val="00C8E6"/>
      </a:accent3>
      <a:accent4>
        <a:srgbClr val="005A18"/>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blank.potx" id="{76C96213-D747-4720-83D2-A9C4E37202CD}" vid="{02F324C2-696B-4914-8A1C-02B3EC5D0EAF}"/>
    </a:ext>
  </a:extLst>
</a:theme>
</file>

<file path=ppt/theme/theme2.xml><?xml version="1.0" encoding="utf-8"?>
<a:theme xmlns:a="http://schemas.openxmlformats.org/drawingml/2006/main" name="1_150209_3M_PPTTemplate_v7">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3.xml><?xml version="1.0" encoding="utf-8"?>
<a:theme xmlns:a="http://schemas.openxmlformats.org/drawingml/2006/main" name="2_150209_3M_PPTTemplate_v7">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4.xml><?xml version="1.0" encoding="utf-8"?>
<a:theme xmlns:a="http://schemas.openxmlformats.org/drawingml/2006/main" name="3_150209_3M_PPTTemplate_v7">
  <a:themeElements>
    <a:clrScheme name="TRIFECTA 3 LtGrn_Grn_LtBlue-A">
      <a:dk1>
        <a:sysClr val="windowText" lastClr="000000"/>
      </a:dk1>
      <a:lt1>
        <a:srgbClr val="FFFFFF"/>
      </a:lt1>
      <a:dk2>
        <a:srgbClr val="A8A8A8"/>
      </a:dk2>
      <a:lt2>
        <a:srgbClr val="595959"/>
      </a:lt2>
      <a:accent1>
        <a:srgbClr val="AAE600"/>
      </a:accent1>
      <a:accent2>
        <a:srgbClr val="00B432"/>
      </a:accent2>
      <a:accent3>
        <a:srgbClr val="00C8E6"/>
      </a:accent3>
      <a:accent4>
        <a:srgbClr val="005A18"/>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blank.potx" id="{76C96213-D747-4720-83D2-A9C4E37202CD}" vid="{02F324C2-696B-4914-8A1C-02B3EC5D0EAF}"/>
    </a:ext>
  </a:extLst>
</a:theme>
</file>

<file path=ppt/theme/theme5.xml><?xml version="1.0" encoding="utf-8"?>
<a:theme xmlns:a="http://schemas.openxmlformats.org/drawingml/2006/main" name="5_150209_3M_PPTTemplate_v7">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6.xml><?xml version="1.0" encoding="utf-8"?>
<a:theme xmlns:a="http://schemas.openxmlformats.org/drawingml/2006/main" name="4_150209_3M_PPTTemplate_v7">
  <a:themeElements>
    <a:clrScheme name="TRIFECTA 8 LtBlue_DkBlue_Pur-A">
      <a:dk1>
        <a:sysClr val="windowText" lastClr="000000"/>
      </a:dk1>
      <a:lt1>
        <a:srgbClr val="FFFFFF"/>
      </a:lt1>
      <a:dk2>
        <a:srgbClr val="A8A8A8"/>
      </a:dk2>
      <a:lt2>
        <a:srgbClr val="595959"/>
      </a:lt2>
      <a:accent1>
        <a:srgbClr val="00C8E6"/>
      </a:accent1>
      <a:accent2>
        <a:srgbClr val="1E1E96"/>
      </a:accent2>
      <a:accent3>
        <a:srgbClr val="8228B4"/>
      </a:accent3>
      <a:accent4>
        <a:srgbClr val="008423"/>
      </a:accent4>
      <a:accent5>
        <a:srgbClr val="D2D2D2"/>
      </a:accent5>
      <a:accent6>
        <a:srgbClr val="FF0000"/>
      </a:accent6>
      <a:hlink>
        <a:srgbClr val="0563C1"/>
      </a:hlink>
      <a:folHlink>
        <a:srgbClr val="1E4E79"/>
      </a:folHlink>
    </a:clrScheme>
    <a:fontScheme name="3M Fonts TTF">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0000"/>
        </a:solidFill>
        <a:ln>
          <a:noFill/>
        </a:ln>
      </a:spPr>
      <a:bodyPr lIns="180000" tIns="180000" rIns="180000" bIns="180000" rtlCol="0" anchor="t"/>
      <a:lstStyle>
        <a:defPPr>
          <a:defRPr sz="2000" dirty="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Presentation1" id="{7B855991-E11B-4FE6-99AC-122B2F4BC96D}" vid="{8ADE108D-080C-49EF-B933-64D7F307B799}"/>
    </a:ext>
  </a:extLst>
</a:theme>
</file>

<file path=ppt/theme/theme7.xml><?xml version="1.0" encoding="utf-8"?>
<a:theme xmlns:a="http://schemas.openxmlformats.org/drawingml/2006/main" name="Office Theme">
  <a:themeElements>
    <a:clrScheme name="3M Colours">
      <a:dk1>
        <a:sysClr val="windowText" lastClr="000000"/>
      </a:dk1>
      <a:lt1>
        <a:sysClr val="window" lastClr="FFFFFF"/>
      </a:lt1>
      <a:dk2>
        <a:srgbClr val="595959"/>
      </a:dk2>
      <a:lt2>
        <a:srgbClr val="D2D2D2"/>
      </a:lt2>
      <a:accent1>
        <a:srgbClr val="FF0000"/>
      </a:accent1>
      <a:accent2>
        <a:srgbClr val="F5821E"/>
      </a:accent2>
      <a:accent3>
        <a:srgbClr val="FAAA19"/>
      </a:accent3>
      <a:accent4>
        <a:srgbClr val="FF0000"/>
      </a:accent4>
      <a:accent5>
        <a:srgbClr val="F5821E"/>
      </a:accent5>
      <a:accent6>
        <a:srgbClr val="FAAA19"/>
      </a:accent6>
      <a:hlink>
        <a:srgbClr val="000000"/>
      </a:hlink>
      <a:folHlink>
        <a:srgbClr val="000000"/>
      </a:folHlink>
    </a:clrScheme>
    <a:fontScheme name="3M">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3M Colours">
      <a:dk1>
        <a:sysClr val="windowText" lastClr="000000"/>
      </a:dk1>
      <a:lt1>
        <a:sysClr val="window" lastClr="FFFFFF"/>
      </a:lt1>
      <a:dk2>
        <a:srgbClr val="595959"/>
      </a:dk2>
      <a:lt2>
        <a:srgbClr val="D2D2D2"/>
      </a:lt2>
      <a:accent1>
        <a:srgbClr val="FF0000"/>
      </a:accent1>
      <a:accent2>
        <a:srgbClr val="F5821E"/>
      </a:accent2>
      <a:accent3>
        <a:srgbClr val="FAAA19"/>
      </a:accent3>
      <a:accent4>
        <a:srgbClr val="FF0000"/>
      </a:accent4>
      <a:accent5>
        <a:srgbClr val="F5821E"/>
      </a:accent5>
      <a:accent6>
        <a:srgbClr val="FAAA19"/>
      </a:accent6>
      <a:hlink>
        <a:srgbClr val="000000"/>
      </a:hlink>
      <a:folHlink>
        <a:srgbClr val="000000"/>
      </a:folHlink>
    </a:clrScheme>
    <a:fontScheme name="3M">
      <a:majorFont>
        <a:latin typeface="3M Circular TT Bold"/>
        <a:ea typeface=""/>
        <a:cs typeface=""/>
      </a:majorFont>
      <a:minorFont>
        <a:latin typeface="3M Circular TT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D565D9A58053D4492E5DC11B5D5B8D0" ma:contentTypeVersion="4" ma:contentTypeDescription="Create a new document." ma:contentTypeScope="" ma:versionID="b37273c5f7f7c47521c4f2caef33ca70">
  <xsd:schema xmlns:xsd="http://www.w3.org/2001/XMLSchema" xmlns:xs="http://www.w3.org/2001/XMLSchema" xmlns:p="http://schemas.microsoft.com/office/2006/metadata/properties" xmlns:ns2="3ac6f570-1ee0-4fce-9eb8-45adab6c9e02" xmlns:ns3="86c31341-1e78-4f2d-b106-acc7ccd8b9e1" targetNamespace="http://schemas.microsoft.com/office/2006/metadata/properties" ma:root="true" ma:fieldsID="0839961097064d42dd76ad691ad2de41" ns2:_="" ns3:_="">
    <xsd:import namespace="3ac6f570-1ee0-4fce-9eb8-45adab6c9e02"/>
    <xsd:import namespace="86c31341-1e78-4f2d-b106-acc7ccd8b9e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ac6f570-1ee0-4fce-9eb8-45adab6c9e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6c31341-1e78-4f2d-b106-acc7ccd8b9e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D6E87DF-B389-41B3-BCBA-B3ADF11EE413}">
  <ds:schemaRefs>
    <ds:schemaRef ds:uri="http://schemas.microsoft.com/office/2006/documentManagement/types"/>
    <ds:schemaRef ds:uri="http://schemas.microsoft.com/office/2006/metadata/properties"/>
    <ds:schemaRef ds:uri="http://schemas.openxmlformats.org/package/2006/metadata/core-properties"/>
    <ds:schemaRef ds:uri="http://purl.org/dc/terms/"/>
    <ds:schemaRef ds:uri="http://www.w3.org/XML/1998/namespace"/>
    <ds:schemaRef ds:uri="http://purl.org/dc/dcmitype/"/>
    <ds:schemaRef ds:uri="86c31341-1e78-4f2d-b106-acc7ccd8b9e1"/>
    <ds:schemaRef ds:uri="http://schemas.microsoft.com/office/infopath/2007/PartnerControls"/>
    <ds:schemaRef ds:uri="3ac6f570-1ee0-4fce-9eb8-45adab6c9e02"/>
    <ds:schemaRef ds:uri="http://purl.org/dc/elements/1.1/"/>
  </ds:schemaRefs>
</ds:datastoreItem>
</file>

<file path=customXml/itemProps2.xml><?xml version="1.0" encoding="utf-8"?>
<ds:datastoreItem xmlns:ds="http://schemas.openxmlformats.org/officeDocument/2006/customXml" ds:itemID="{07F91421-A1AE-461F-A6C4-74F4494E2E7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ac6f570-1ee0-4fce-9eb8-45adab6c9e02"/>
    <ds:schemaRef ds:uri="86c31341-1e78-4f2d-b106-acc7ccd8b9e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C239E8A-380B-4DE2-A83E-778D6D6FE62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468</Words>
  <Application>Microsoft Office PowerPoint</Application>
  <PresentationFormat>Widescreen</PresentationFormat>
  <Paragraphs>318</Paragraphs>
  <Slides>10</Slides>
  <Notes>5</Notes>
  <HiddenSlides>0</HiddenSlides>
  <MMClips>0</MMClips>
  <ScaleCrop>false</ScaleCrop>
  <HeadingPairs>
    <vt:vector size="8" baseType="variant">
      <vt:variant>
        <vt:lpstr>Fonts Used</vt:lpstr>
      </vt:variant>
      <vt:variant>
        <vt:i4>6</vt:i4>
      </vt:variant>
      <vt:variant>
        <vt:lpstr>Theme</vt:lpstr>
      </vt:variant>
      <vt:variant>
        <vt:i4>6</vt:i4>
      </vt:variant>
      <vt:variant>
        <vt:lpstr>Embedded OLE Servers</vt:lpstr>
      </vt:variant>
      <vt:variant>
        <vt:i4>2</vt:i4>
      </vt:variant>
      <vt:variant>
        <vt:lpstr>Slide Titles</vt:lpstr>
      </vt:variant>
      <vt:variant>
        <vt:i4>10</vt:i4>
      </vt:variant>
    </vt:vector>
  </HeadingPairs>
  <TitlesOfParts>
    <vt:vector size="24" baseType="lpstr">
      <vt:lpstr>ＭＳ Ｐゴシック</vt:lpstr>
      <vt:lpstr>3M Circular TT Bold</vt:lpstr>
      <vt:lpstr>3M Circular TT Book</vt:lpstr>
      <vt:lpstr>3M Circular TT Light</vt:lpstr>
      <vt:lpstr>Arial</vt:lpstr>
      <vt:lpstr>Wingdings</vt:lpstr>
      <vt:lpstr>150209_3M_PPTTemplate_v7</vt:lpstr>
      <vt:lpstr>1_150209_3M_PPTTemplate_v7</vt:lpstr>
      <vt:lpstr>2_150209_3M_PPTTemplate_v7</vt:lpstr>
      <vt:lpstr>3_150209_3M_PPTTemplate_v7</vt:lpstr>
      <vt:lpstr>5_150209_3M_PPTTemplate_v7</vt:lpstr>
      <vt:lpstr>4_150209_3M_PPTTemplate_v7</vt:lpstr>
      <vt:lpstr>think-cell Slide</vt:lpstr>
      <vt:lpstr>Chart</vt:lpstr>
      <vt:lpstr>3M™ RPM Series 290/190 Sales Aid</vt:lpstr>
      <vt:lpstr>Being 3M</vt:lpstr>
      <vt:lpstr>PowerPoint Presentation</vt:lpstr>
      <vt:lpstr>RPMs Help Bring Families Home Safely </vt:lpstr>
      <vt:lpstr>3M’s Unique Selling Advantage: Highly Reflective</vt:lpstr>
      <vt:lpstr>3M’s Unique Selling Advantage: Durable Construction</vt:lpstr>
      <vt:lpstr>3M’s Unique Selling Advantage: Fast and Easy Application</vt:lpstr>
      <vt:lpstr>3M’s Unique Selling Advantage: Water Resistant</vt:lpstr>
      <vt:lpstr>3M’s RPM Product Portfolio</vt:lpstr>
      <vt:lpstr>Example RPM Specification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brand.3M.com</dc:description>
  <cp:lastModifiedBy/>
  <cp:revision>1</cp:revision>
  <dcterms:created xsi:type="dcterms:W3CDTF">2018-07-16T15:40:41Z</dcterms:created>
  <dcterms:modified xsi:type="dcterms:W3CDTF">2018-10-31T17:17: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958178</vt:lpwstr>
  </property>
  <property fmtid="{D5CDD505-2E9C-101B-9397-08002B2CF9AE}" pid="3" name="NXPowerLiteSettings">
    <vt:lpwstr>A74006B004C800</vt:lpwstr>
  </property>
  <property fmtid="{D5CDD505-2E9C-101B-9397-08002B2CF9AE}" pid="4" name="NXPowerLiteVersion">
    <vt:lpwstr>D6.0.7</vt:lpwstr>
  </property>
  <property fmtid="{D5CDD505-2E9C-101B-9397-08002B2CF9AE}" pid="5" name="ContentTypeId">
    <vt:lpwstr>0x0101006D565D9A58053D4492E5DC11B5D5B8D0</vt:lpwstr>
  </property>
</Properties>
</file>